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omments/modernComment_115_8C48A7DB.xml" ContentType="application/vnd.ms-powerpoint.comment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62" r:id="rId5"/>
    <p:sldMasterId id="2147483673" r:id="rId6"/>
    <p:sldMasterId id="2147483690" r:id="rId7"/>
  </p:sldMasterIdLst>
  <p:notesMasterIdLst>
    <p:notesMasterId r:id="rId24"/>
  </p:notesMasterIdLst>
  <p:handoutMasterIdLst>
    <p:handoutMasterId r:id="rId25"/>
  </p:handoutMasterIdLst>
  <p:sldIdLst>
    <p:sldId id="4421" r:id="rId8"/>
    <p:sldId id="4435" r:id="rId9"/>
    <p:sldId id="4425" r:id="rId10"/>
    <p:sldId id="4419" r:id="rId11"/>
    <p:sldId id="4439" r:id="rId12"/>
    <p:sldId id="4452" r:id="rId13"/>
    <p:sldId id="4443" r:id="rId14"/>
    <p:sldId id="4445" r:id="rId15"/>
    <p:sldId id="4446" r:id="rId16"/>
    <p:sldId id="4447" r:id="rId17"/>
    <p:sldId id="4448" r:id="rId18"/>
    <p:sldId id="4449" r:id="rId19"/>
    <p:sldId id="4450" r:id="rId20"/>
    <p:sldId id="4451" r:id="rId21"/>
    <p:sldId id="4428" r:id="rId22"/>
    <p:sldId id="2532" r:id="rId23"/>
  </p:sldIdLst>
  <p:sldSz cx="12192000" cy="6858000"/>
  <p:notesSz cx="6858000" cy="9144000"/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Войчак Юрій Григорович" initials="ВЮГ" lastIdx="5" clrIdx="0">
    <p:extLst>
      <p:ext uri="{19B8F6BF-5375-455C-9EA6-DF929625EA0E}">
        <p15:presenceInfo xmlns:p15="http://schemas.microsoft.com/office/powerpoint/2012/main" userId="S-1-5-21-1150577419-2144122370-1180066121-34907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CC"/>
    <a:srgbClr val="0051C8"/>
    <a:srgbClr val="D4CE42"/>
    <a:srgbClr val="4343FF"/>
    <a:srgbClr val="3333FF"/>
    <a:srgbClr val="0066FF"/>
    <a:srgbClr val="5A863B"/>
    <a:srgbClr val="333333"/>
    <a:srgbClr val="000000"/>
    <a:srgbClr val="3857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115" autoAdjust="0"/>
    <p:restoredTop sz="91026" autoAdjust="0"/>
  </p:normalViewPr>
  <p:slideViewPr>
    <p:cSldViewPr snapToGrid="0">
      <p:cViewPr varScale="1">
        <p:scale>
          <a:sx n="101" d="100"/>
          <a:sy n="101" d="100"/>
        </p:scale>
        <p:origin x="696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399244900136517"/>
          <c:y val="0.12752929707873181"/>
          <c:w val="0.71600755099863467"/>
          <c:h val="0.8516058946345098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FFFF00"/>
            </a:solid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uk-UA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18</c:f>
              <c:strCache>
                <c:ptCount val="17"/>
                <c:pt idx="0">
                  <c:v>Лохина та чорниця</c:v>
                </c:pt>
                <c:pt idx="1">
                  <c:v>Груша</c:v>
                </c:pt>
                <c:pt idx="2">
                  <c:v>Яблуня</c:v>
                </c:pt>
                <c:pt idx="3">
                  <c:v>Черешня</c:v>
                </c:pt>
                <c:pt idx="4">
                  <c:v>Ліщина та горіх</c:v>
                </c:pt>
                <c:pt idx="5">
                  <c:v>Виноград</c:v>
                </c:pt>
                <c:pt idx="6">
                  <c:v>Суниця садова</c:v>
                </c:pt>
                <c:pt idx="7">
                  <c:v>Ожина</c:v>
                </c:pt>
                <c:pt idx="8">
                  <c:v>Малина</c:v>
                </c:pt>
                <c:pt idx="9">
                  <c:v>Персик</c:v>
                </c:pt>
                <c:pt idx="10">
                  <c:v>Порічка</c:v>
                </c:pt>
                <c:pt idx="11">
                  <c:v>Аґрус</c:v>
                </c:pt>
                <c:pt idx="12">
                  <c:v>Смородина</c:v>
                </c:pt>
                <c:pt idx="13">
                  <c:v>Обліпиха </c:v>
                </c:pt>
                <c:pt idx="14">
                  <c:v>Абрикос</c:v>
                </c:pt>
                <c:pt idx="15">
                  <c:v>Слива </c:v>
                </c:pt>
                <c:pt idx="16">
                  <c:v>Вишня</c:v>
                </c:pt>
              </c:strCache>
            </c:strRef>
          </c:cat>
          <c:val>
            <c:numRef>
              <c:f>Лист1!$B$2:$B$18</c:f>
              <c:numCache>
                <c:formatCode>General</c:formatCode>
                <c:ptCount val="17"/>
                <c:pt idx="0">
                  <c:v>400</c:v>
                </c:pt>
                <c:pt idx="1">
                  <c:v>400</c:v>
                </c:pt>
                <c:pt idx="2">
                  <c:v>400</c:v>
                </c:pt>
                <c:pt idx="3">
                  <c:v>350</c:v>
                </c:pt>
                <c:pt idx="4">
                  <c:v>250</c:v>
                </c:pt>
                <c:pt idx="5">
                  <c:v>225</c:v>
                </c:pt>
                <c:pt idx="6">
                  <c:v>225</c:v>
                </c:pt>
                <c:pt idx="7">
                  <c:v>225</c:v>
                </c:pt>
                <c:pt idx="8">
                  <c:v>190</c:v>
                </c:pt>
                <c:pt idx="9">
                  <c:v>170</c:v>
                </c:pt>
                <c:pt idx="10">
                  <c:v>150</c:v>
                </c:pt>
                <c:pt idx="11">
                  <c:v>150</c:v>
                </c:pt>
                <c:pt idx="12">
                  <c:v>140</c:v>
                </c:pt>
                <c:pt idx="13">
                  <c:v>140</c:v>
                </c:pt>
                <c:pt idx="14">
                  <c:v>140</c:v>
                </c:pt>
                <c:pt idx="15">
                  <c:v>140</c:v>
                </c:pt>
                <c:pt idx="16">
                  <c:v>1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93-4FED-B76C-DCF8C5E8958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17"/>
        <c:overlap val="-48"/>
        <c:axId val="473225200"/>
        <c:axId val="473224024"/>
      </c:barChart>
      <c:catAx>
        <c:axId val="4732252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uk-UA"/>
          </a:p>
        </c:txPr>
        <c:crossAx val="473224024"/>
        <c:crosses val="autoZero"/>
        <c:auto val="1"/>
        <c:lblAlgn val="l"/>
        <c:lblOffset val="100"/>
        <c:noMultiLvlLbl val="0"/>
      </c:catAx>
      <c:valAx>
        <c:axId val="4732240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73225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uk-UA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Vert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omments/modernComment_115_8C48A7DB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E03F5D8-A68F-4046-915A-FB81F05A0B8C}" authorId="{477E2146-2B61-BB14-056E-691406F4F117}" created="2023-02-07T09:29:18.411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353571803" sldId="277"/>
      <ac:spMk id="54" creationId="{9594C1FD-FF0B-43D1-AF2E-EA42400D2252}"/>
      <ac:txMk cp="0" len="7">
        <ac:context len="90" hash="1277914257"/>
      </ac:txMk>
    </ac:txMkLst>
    <p188:pos x="1861363" y="264545"/>
    <p188:txBody>
      <a:bodyPr/>
      <a:lstStyle/>
      <a:p>
        <a:r>
          <a:rPr lang="en-US"/>
          <a:t>Оскільки міні гранти є лише одним із кількох основних напрямків дільності, цю схемку треба переформатувати, бо зараз виглядає що в рамках всіє програми єдиною дільністю є лише міні гранти </a:t>
        </a:r>
      </a:p>
    </p188:txBody>
  </p188:cm>
  <p188:cm id="{08D9E37F-9D2E-49E0-A6DC-C2DF3C478980}" authorId="{477E2146-2B61-BB14-056E-691406F4F117}" created="2023-02-07T09:34:34.58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353571803" sldId="277"/>
      <ac:picMk id="94" creationId="{43908C92-6369-4C69-8C8F-8D3A7456EE37}"/>
    </ac:deMkLst>
    <p188:txBody>
      <a:bodyPr/>
      <a:lstStyle/>
      <a:p>
        <a:r>
          <a:rPr lang="en-US"/>
          <a:t>На цій мапі не врахована 3 категорія - companies that are important for the provision of basic supplies (including services)
in all oblasts under government control 
Також, можна було б якось виділити на карті різні категорії аплікантів </a:t>
        </a:r>
      </a:p>
    </p188:txBody>
  </p188:cm>
  <p188:cm id="{6073698F-2C2F-4810-91B3-1543F4530971}" authorId="{477E2146-2B61-BB14-056E-691406F4F117}" created="2023-02-07T09:36:53.875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353571803" sldId="277"/>
      <ac:spMk id="95" creationId="{16E9C22D-D832-4ED2-BF03-9F789941833D}"/>
      <ac:txMk cp="0" len="218">
        <ac:context len="376" hash="2133729896"/>
      </ac:txMk>
    </ac:txMkLst>
    <p188:pos x="5521918" y="427359"/>
    <p188:txBody>
      <a:bodyPr/>
      <a:lstStyle/>
      <a:p>
        <a:r>
          <a:rPr lang="en-US"/>
          <a:t>Ціль не всієї програми, а лише частини, яку координуватиме BDF </a:t>
        </a:r>
      </a:p>
    </p188:txBody>
  </p188:cm>
  <p188:cm id="{B27E0731-BBB5-49F5-8DDC-F4A787B55AEC}" authorId="{477E2146-2B61-BB14-056E-691406F4F117}" created="2023-02-07T09:41:36.60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353571803" sldId="277"/>
      <ac:spMk id="3" creationId="{07F8FD93-AFF3-4E93-9C7C-1445D30D9D9A}"/>
    </ac:deMkLst>
    <p188:txBody>
      <a:bodyPr/>
      <a:lstStyle/>
      <a:p>
        <a:r>
          <a:rPr lang="en-US"/>
          <a:t>Тут описана лише частина BDF, а не вся діяльність в рамках програми </a:t>
        </a:r>
      </a:p>
    </p188:txBody>
  </p188:cm>
</p188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645906-B221-4C11-A6E8-A5D53AFEB064}" type="datetimeFigureOut">
              <a:rPr lang="ru-RU" smtClean="0"/>
              <a:t>12.07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FFCF2FD-E328-4089-9CA9-A186BCB457E8}" type="slidenum">
              <a:rPr lang="ru-RU" smtClean="0"/>
              <a:t>‹№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5818884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 dirty="0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8088C0-91E7-4F27-8FA5-86BD2CF843F8}" type="datetimeFigureOut">
              <a:rPr lang="uk-UA" smtClean="0"/>
              <a:t>12.07.2023</a:t>
            </a:fld>
            <a:endParaRPr lang="uk-UA" dirty="0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 dirty="0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 dirty="0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33C1AD-C434-4861-BA24-19C431D7DB09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54706535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38109" y="4370346"/>
            <a:ext cx="6313493" cy="187361"/>
          </a:xfrm>
        </p:spPr>
        <p:txBody>
          <a:bodyPr/>
          <a:lstStyle/>
          <a:p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6476230" y="9508775"/>
            <a:ext cx="75378" cy="169304"/>
          </a:xfrm>
        </p:spPr>
        <p:txBody>
          <a:bodyPr/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8ADDF9-2BD3-49BF-BECD-42ECCEB59CB7}" type="slidenum">
              <a:rPr kumimoji="0" lang="uk-U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81634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spcFirstLastPara="1" wrap="square" lIns="91418" tIns="45696" rIns="91418" bIns="45696" anchor="t" anchorCtr="0">
            <a:noAutofit/>
          </a:bodyPr>
          <a:lstStyle/>
          <a:p>
            <a:pPr marL="0" indent="0"/>
            <a:endParaRPr dirty="0"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191755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33C1AD-C434-4861-BA24-19C431D7DB09}" type="slidenum">
              <a:rPr lang="uk-UA" smtClean="0"/>
              <a:t>3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923298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933C1AD-C434-4861-BA24-19C431D7DB09}" type="slidenum">
              <a:rPr lang="uk-UA" smtClean="0"/>
              <a:t>6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570947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A22F1-C4D6-4C22-9712-4A0ECCDDB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50736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A22F1-C4D6-4C22-9712-4A0ECCDDB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0641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A22F1-C4D6-4C22-9712-4A0ECCDDB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91475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A22F1-C4D6-4C22-9712-4A0ECCDDB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13332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A22F1-C4D6-4C22-9712-4A0ECCDDB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72275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A22F1-C4D6-4C22-9712-4A0ECCDDB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16359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png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24.xml"/><Relationship Id="rId7" Type="http://schemas.openxmlformats.org/officeDocument/2006/relationships/image" Target="../media/image13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uk-UA"/>
              <a:t>Клацніть, щоб редагувати стиль зразка підзаголовка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7E2AE4-B16F-4209-B8AE-3280A924DB9E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18268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7E2AE4-B16F-4209-B8AE-3280A924DB9E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285607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7E2AE4-B16F-4209-B8AE-3280A924DB9E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0791292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58877" y="2938537"/>
            <a:ext cx="6629400" cy="747712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Arial Black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6220" y="429386"/>
            <a:ext cx="1444755" cy="722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4416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uk"/>
              <a:t>Click to edit Master title style</a:t>
            </a:r>
            <a:endParaRPr lang="x-none" dirty="0"/>
          </a:p>
        </p:txBody>
      </p:sp>
    </p:spTree>
    <p:extLst>
      <p:ext uri="{BB962C8B-B14F-4D97-AF65-F5344CB8AC3E}">
        <p14:creationId xmlns:p14="http://schemas.microsoft.com/office/powerpoint/2010/main" val="118797032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/>
          <p:cNvSpPr>
            <a:spLocks/>
          </p:cNvSpPr>
          <p:nvPr/>
        </p:nvSpPr>
        <p:spPr bwMode="ltGray">
          <a:xfrm>
            <a:off x="5067301" y="3378200"/>
            <a:ext cx="7124700" cy="2870200"/>
          </a:xfrm>
          <a:prstGeom prst="rect">
            <a:avLst/>
          </a:prstGeom>
          <a:solidFill>
            <a:schemeClr val="tx1">
              <a:alpha val="6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5372100" y="3619685"/>
            <a:ext cx="6589960" cy="574516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>
              <a:defRPr lang="x-none" sz="3733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rtl="0" latinLnBrk="0"/>
            <a:r>
              <a:rPr lang="uk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5372100" y="4842425"/>
            <a:ext cx="6589960" cy="287259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>
              <a:defRPr lang="x-none" sz="1867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rtl="0" latinLnBrk="0"/>
            <a:r>
              <a:rPr lang="uk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5372100" y="5777846"/>
            <a:ext cx="6589960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rtl="0" eaLnBrk="0" hangingPunct="1">
              <a:defRPr lang="x-none"/>
            </a:pPr>
            <a:r>
              <a:rPr lang="uk" sz="1867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pic>
        <p:nvPicPr>
          <p:cNvPr id="10" name="Рисунок 11" descr="oschad-01.jpg"/>
          <p:cNvPicPr/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54541" y="377614"/>
            <a:ext cx="2156460" cy="108288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790589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/>
          <p:cNvSpPr>
            <a:spLocks/>
          </p:cNvSpPr>
          <p:nvPr/>
        </p:nvSpPr>
        <p:spPr bwMode="ltGray">
          <a:xfrm>
            <a:off x="0" y="3378200"/>
            <a:ext cx="12192000" cy="2870200"/>
          </a:xfrm>
          <a:prstGeom prst="rect">
            <a:avLst/>
          </a:prstGeom>
          <a:solidFill>
            <a:srgbClr val="0A886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673100" y="3619685"/>
            <a:ext cx="8534401" cy="574516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algn="l">
              <a:defRPr lang="x-none" sz="3733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rtl="0" latinLnBrk="0"/>
            <a:r>
              <a:rPr lang="uk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73101" y="4842425"/>
            <a:ext cx="8534401" cy="287259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algn="l">
              <a:defRPr lang="x-none" sz="1867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rtl="0" latinLnBrk="0"/>
            <a:r>
              <a:rPr lang="uk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673101" y="5777846"/>
            <a:ext cx="8534401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0" eaLnBrk="0" hangingPunct="1">
              <a:defRPr lang="x-none"/>
            </a:pPr>
            <a:r>
              <a:rPr lang="uk" sz="1867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pic>
        <p:nvPicPr>
          <p:cNvPr id="9" name="Picture 497" descr="Image result for ощадбанк логотип">
            <a:extLst>
              <a:ext uri="{FF2B5EF4-FFF2-40B4-BE49-F238E27FC236}">
                <a16:creationId xmlns:a16="http://schemas.microsoft.com/office/drawing/2014/main" id="{BE370DBB-A6D0-4C5A-9029-15C173241A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87800" y="419100"/>
            <a:ext cx="4216400" cy="2006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60C4005-34EA-4490-A26B-EB4B03BD0C2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43350" y="2489293"/>
            <a:ext cx="4305300" cy="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1924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3" descr="http://dpchas.com.ua/sites/default/files/u85/58745_5.jpg"/>
          <p:cNvPicPr>
            <a:picLocks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>
            <a:spLocks/>
          </p:cNvSpPr>
          <p:nvPr/>
        </p:nvSpPr>
        <p:spPr bwMode="ltGray">
          <a:xfrm>
            <a:off x="0" y="4298102"/>
            <a:ext cx="12192000" cy="2346537"/>
          </a:xfrm>
          <a:prstGeom prst="rect">
            <a:avLst/>
          </a:prstGeom>
          <a:solidFill>
            <a:schemeClr val="tx1">
              <a:alpha val="67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gray">
          <a:xfrm>
            <a:off x="673100" y="4585361"/>
            <a:ext cx="8534401" cy="574516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algn="l">
              <a:defRPr lang="x-none" sz="3733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rtl="0" latinLnBrk="0"/>
            <a:r>
              <a:rPr lang="uk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73101" y="5523384"/>
            <a:ext cx="8534401" cy="287259"/>
          </a:xfrm>
          <a:prstGeom prst="rect">
            <a:avLst/>
          </a:prstGeom>
        </p:spPr>
        <p:txBody>
          <a:bodyPr wrap="square" rtlCol="0">
            <a:spAutoFit/>
          </a:bodyPr>
          <a:lstStyle>
            <a:lvl1pPr algn="l">
              <a:defRPr lang="x-none" sz="1867" cap="none" baseline="0">
                <a:solidFill>
                  <a:schemeClr val="bg1"/>
                </a:solidFill>
                <a:latin typeface="+mn-lt"/>
                <a:ea typeface="+mn-ea"/>
              </a:defRPr>
            </a:lvl1pPr>
          </a:lstStyle>
          <a:p>
            <a:pPr lvl="0" rtl="0" latinLnBrk="0"/>
            <a:r>
              <a:rPr lang="uk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673101" y="6174086"/>
            <a:ext cx="8534401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rtl="0" eaLnBrk="0" hangingPunct="1">
              <a:defRPr lang="x-none"/>
            </a:pPr>
            <a:r>
              <a:rPr lang="uk" sz="1867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  <p:pic>
        <p:nvPicPr>
          <p:cNvPr id="10" name="Рисунок 11" descr="oschad-01.jpg"/>
          <p:cNvPicPr/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68841" y="3756658"/>
            <a:ext cx="2156460" cy="108288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123545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gray"/>
        <p:txBody>
          <a:bodyPr rtlCol="0"/>
          <a:lstStyle/>
          <a:p>
            <a:pPr rtl="0"/>
            <a:r>
              <a:rPr lang="uk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>
            <a:spAutoFit/>
          </a:bodyPr>
          <a:lstStyle/>
          <a:p>
            <a:pPr algn="r" defTabSz="1218026" rtl="0"/>
            <a:endParaRPr lang="x-none" sz="612" baseline="0" noProof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486256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26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30"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771771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3589869" y="2002071"/>
            <a:ext cx="6420996" cy="1311916"/>
          </a:xfrm>
        </p:spPr>
        <p:txBody>
          <a:bodyPr anchor="ctr">
            <a:noAutofit/>
          </a:bodyPr>
          <a:lstStyle>
            <a:lvl1pPr marL="16118" indent="0">
              <a:buNone/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uk-UA" dirty="0" err="1"/>
              <a:t>Click</a:t>
            </a:r>
            <a:r>
              <a:rPr lang="uk-UA" dirty="0"/>
              <a:t> </a:t>
            </a:r>
            <a:r>
              <a:rPr lang="uk-UA" dirty="0" err="1"/>
              <a:t>to</a:t>
            </a:r>
            <a:r>
              <a:rPr lang="uk-UA" dirty="0"/>
              <a:t> </a:t>
            </a:r>
            <a:r>
              <a:rPr lang="uk-UA" dirty="0" err="1"/>
              <a:t>edit</a:t>
            </a:r>
            <a:r>
              <a:rPr lang="uk-UA" dirty="0"/>
              <a:t> </a:t>
            </a:r>
            <a:r>
              <a:rPr lang="uk-UA" dirty="0" err="1"/>
              <a:t>Master</a:t>
            </a:r>
            <a:r>
              <a:rPr lang="uk-UA" dirty="0"/>
              <a:t> </a:t>
            </a:r>
            <a:r>
              <a:rPr lang="uk-UA" dirty="0" err="1"/>
              <a:t>text</a:t>
            </a:r>
            <a:r>
              <a:rPr lang="uk-UA" dirty="0"/>
              <a:t> </a:t>
            </a:r>
            <a:r>
              <a:rPr lang="uk-UA" dirty="0" err="1"/>
              <a:t>styles</a:t>
            </a:r>
            <a:endParaRPr lang="uk-UA" dirty="0"/>
          </a:p>
          <a:p>
            <a:pPr lvl="1"/>
            <a:r>
              <a:rPr lang="uk-UA" dirty="0" err="1"/>
              <a:t>Second</a:t>
            </a:r>
            <a:r>
              <a:rPr lang="uk-UA" dirty="0"/>
              <a:t> </a:t>
            </a:r>
            <a:r>
              <a:rPr lang="uk-UA" dirty="0" err="1"/>
              <a:t>level</a:t>
            </a:r>
            <a:endParaRPr lang="uk-UA" dirty="0"/>
          </a:p>
          <a:p>
            <a:pPr lvl="2"/>
            <a:r>
              <a:rPr lang="uk-UA" dirty="0" err="1"/>
              <a:t>Third</a:t>
            </a:r>
            <a:r>
              <a:rPr lang="uk-UA" dirty="0"/>
              <a:t> </a:t>
            </a:r>
            <a:r>
              <a:rPr lang="uk-UA" dirty="0" err="1"/>
              <a:t>level</a:t>
            </a:r>
            <a:endParaRPr lang="uk-UA" dirty="0"/>
          </a:p>
          <a:p>
            <a:pPr lvl="3"/>
            <a:r>
              <a:rPr lang="uk-UA" dirty="0" err="1"/>
              <a:t>Fourth</a:t>
            </a:r>
            <a:r>
              <a:rPr lang="uk-UA" dirty="0"/>
              <a:t> </a:t>
            </a:r>
            <a:r>
              <a:rPr lang="uk-UA" dirty="0" err="1"/>
              <a:t>level</a:t>
            </a:r>
            <a:endParaRPr lang="uk-UA" dirty="0"/>
          </a:p>
          <a:p>
            <a:pPr lvl="4"/>
            <a:r>
              <a:rPr lang="uk-UA" dirty="0" err="1"/>
              <a:t>Fifth</a:t>
            </a:r>
            <a:r>
              <a:rPr lang="uk-UA" dirty="0"/>
              <a:t> </a:t>
            </a:r>
            <a:r>
              <a:rPr lang="uk-UA" dirty="0" err="1"/>
              <a:t>level</a:t>
            </a:r>
            <a:endParaRPr lang="uk-UA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2"/>
          </p:nvPr>
        </p:nvSpPr>
        <p:spPr>
          <a:xfrm>
            <a:off x="3589869" y="3619501"/>
            <a:ext cx="6420996" cy="514961"/>
          </a:xfrm>
        </p:spPr>
        <p:txBody>
          <a:bodyPr anchor="ctr">
            <a:noAutofit/>
          </a:bodyPr>
          <a:lstStyle>
            <a:lvl1pPr marL="16118" indent="0">
              <a:buNone/>
              <a:defRPr sz="1600" b="0" i="1">
                <a:solidFill>
                  <a:schemeClr val="tx2"/>
                </a:solidFill>
              </a:defRPr>
            </a:lvl1pPr>
            <a:lvl2pPr>
              <a:defRPr sz="1600" b="0" i="1">
                <a:solidFill>
                  <a:schemeClr val="tx2"/>
                </a:solidFill>
              </a:defRPr>
            </a:lvl2pPr>
            <a:lvl3pPr>
              <a:defRPr sz="1600" b="0" i="1">
                <a:solidFill>
                  <a:schemeClr val="tx2"/>
                </a:solidFill>
              </a:defRPr>
            </a:lvl3pPr>
            <a:lvl4pPr>
              <a:defRPr sz="1600" b="0" i="1">
                <a:solidFill>
                  <a:schemeClr val="tx2"/>
                </a:solidFill>
              </a:defRPr>
            </a:lvl4pPr>
            <a:lvl5pPr>
              <a:defRPr sz="1600" b="0" i="1">
                <a:solidFill>
                  <a:schemeClr val="tx2"/>
                </a:solidFill>
              </a:defRPr>
            </a:lvl5pPr>
          </a:lstStyle>
          <a:p>
            <a:pPr lvl="0"/>
            <a:r>
              <a:rPr lang="uk-UA" dirty="0" err="1"/>
              <a:t>Click</a:t>
            </a:r>
            <a:r>
              <a:rPr lang="uk-UA" dirty="0"/>
              <a:t> </a:t>
            </a:r>
            <a:r>
              <a:rPr lang="uk-UA" dirty="0" err="1"/>
              <a:t>to</a:t>
            </a:r>
            <a:r>
              <a:rPr lang="uk-UA" dirty="0"/>
              <a:t> </a:t>
            </a:r>
            <a:r>
              <a:rPr lang="uk-UA" dirty="0" err="1"/>
              <a:t>edit</a:t>
            </a:r>
            <a:r>
              <a:rPr lang="uk-UA" dirty="0"/>
              <a:t> </a:t>
            </a:r>
            <a:r>
              <a:rPr lang="uk-UA" dirty="0" err="1"/>
              <a:t>Master</a:t>
            </a:r>
            <a:r>
              <a:rPr lang="uk-UA" dirty="0"/>
              <a:t> </a:t>
            </a:r>
            <a:r>
              <a:rPr lang="uk-UA" dirty="0" err="1"/>
              <a:t>text</a:t>
            </a:r>
            <a:r>
              <a:rPr lang="uk-UA" dirty="0"/>
              <a:t> </a:t>
            </a:r>
            <a:r>
              <a:rPr lang="uk-UA" dirty="0" err="1"/>
              <a:t>styles</a:t>
            </a:r>
            <a:endParaRPr lang="uk-UA" dirty="0"/>
          </a:p>
          <a:p>
            <a:pPr lvl="1"/>
            <a:r>
              <a:rPr lang="uk-UA" dirty="0" err="1"/>
              <a:t>Second</a:t>
            </a:r>
            <a:r>
              <a:rPr lang="uk-UA" dirty="0"/>
              <a:t> </a:t>
            </a:r>
            <a:r>
              <a:rPr lang="uk-UA" dirty="0" err="1"/>
              <a:t>level</a:t>
            </a:r>
            <a:endParaRPr lang="uk-UA" dirty="0"/>
          </a:p>
          <a:p>
            <a:pPr lvl="2"/>
            <a:r>
              <a:rPr lang="uk-UA" dirty="0" err="1"/>
              <a:t>Third</a:t>
            </a:r>
            <a:r>
              <a:rPr lang="uk-UA" dirty="0"/>
              <a:t> </a:t>
            </a:r>
            <a:r>
              <a:rPr lang="uk-UA" dirty="0" err="1"/>
              <a:t>level</a:t>
            </a:r>
            <a:endParaRPr lang="uk-UA" dirty="0"/>
          </a:p>
          <a:p>
            <a:pPr lvl="3"/>
            <a:r>
              <a:rPr lang="uk-UA" dirty="0" err="1"/>
              <a:t>Fourth</a:t>
            </a:r>
            <a:r>
              <a:rPr lang="uk-UA" dirty="0"/>
              <a:t> </a:t>
            </a:r>
            <a:r>
              <a:rPr lang="uk-UA" dirty="0" err="1"/>
              <a:t>level</a:t>
            </a:r>
            <a:endParaRPr lang="uk-UA" dirty="0"/>
          </a:p>
          <a:p>
            <a:pPr lvl="4"/>
            <a:r>
              <a:rPr lang="uk-UA" dirty="0" err="1"/>
              <a:t>Fifth</a:t>
            </a:r>
            <a:r>
              <a:rPr lang="uk-UA" dirty="0"/>
              <a:t> </a:t>
            </a:r>
            <a:r>
              <a:rPr lang="uk-UA" dirty="0" err="1"/>
              <a:t>level</a:t>
            </a:r>
            <a:endParaRPr lang="uk-UA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2349500"/>
            <a:ext cx="2540000" cy="1269499"/>
          </a:xfrm>
          <a:prstGeom prst="rect">
            <a:avLst/>
          </a:prstGeom>
        </p:spPr>
      </p:pic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9" name="think-cell Slide" r:id="rId8" imgW="216" imgH="216" progId="TCLayout.ActiveDocument.1">
                  <p:embed/>
                </p:oleObj>
              </mc:Choice>
              <mc:Fallback>
                <p:oleObj name="think-cell Slide" r:id="rId8" imgW="216" imgH="216" progId="TCLayout.ActiveDocument.1">
                  <p:embed/>
                  <p:pic>
                    <p:nvPicPr>
                      <p:cNvPr id="6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4400" y="2349500"/>
            <a:ext cx="2540000" cy="1269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395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і об’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7E2AE4-B16F-4209-B8AE-3280A924DB9E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25179169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48803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511823" y="426110"/>
            <a:ext cx="11221467" cy="410433"/>
          </a:xfrm>
          <a:solidFill>
            <a:srgbClr val="FF585D"/>
          </a:solidFill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uk-UA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884474" y="2117576"/>
            <a:ext cx="10848817" cy="1641155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54609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8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ru-RU" sz="2667" b="0" i="0" baseline="0" dirty="0">
              <a:solidFill>
                <a:schemeClr val="tx1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0" y="429577"/>
            <a:ext cx="12192000" cy="490407"/>
          </a:xfrm>
          <a:solidFill>
            <a:srgbClr val="1CA26F"/>
          </a:solidFill>
        </p:spPr>
        <p:txBody>
          <a:bodyPr lIns="82800" tIns="39600" rIns="82800" bIns="39600" anchor="t" anchorCtr="0">
            <a:spAutoFit/>
          </a:bodyPr>
          <a:lstStyle>
            <a:lvl1pPr marL="335992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 </a:t>
            </a:r>
            <a:endParaRPr lang="uk-UA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-1" y="48468"/>
            <a:ext cx="12192000" cy="287259"/>
          </a:xfrm>
        </p:spPr>
        <p:txBody>
          <a:bodyPr lIns="144000" tIns="0" rIns="144000" bIns="0" anchor="ctr" anchorCtr="0"/>
          <a:lstStyle>
            <a:lvl1pPr algn="r">
              <a:defRPr sz="1867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3734609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58877" y="2938537"/>
            <a:ext cx="6629400" cy="747712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Arial Black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6220" y="429386"/>
            <a:ext cx="1444755" cy="722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63367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y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66715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ty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28917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ty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1810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Sty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01772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Sty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90095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Sty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16046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7E2AE4-B16F-4209-B8AE-3280A924DB9E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58442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Sty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74457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38658935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217E40D-B216-4710-BD18-207E86DC4C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0333" y="-299340"/>
            <a:ext cx="11391334" cy="7456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4998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02993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D3FA6-F028-457D-8D49-6798334D834F}" type="datetimeFigureOut">
              <a:rPr lang="uk-UA" smtClean="0"/>
              <a:t>12.07.2023</a:t>
            </a:fld>
            <a:endParaRPr lang="uk-UA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3736F-E6E3-475F-B981-49B4C3DF6E78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8495956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uk-UA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uk-UA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2D3FA6-F028-457D-8D49-6798334D834F}" type="datetimeFigureOut">
              <a:rPr lang="uk-UA" smtClean="0"/>
              <a:t>12.07.2023</a:t>
            </a:fld>
            <a:endParaRPr lang="uk-UA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43736F-E6E3-475F-B981-49B4C3DF6E78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5450546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58877" y="2938537"/>
            <a:ext cx="6629400" cy="747712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Arial Black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27359518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058877" y="2938537"/>
            <a:ext cx="6629400" cy="747712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bg1"/>
                </a:solidFill>
                <a:latin typeface="Arial Black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6220" y="429386"/>
            <a:ext cx="1444755" cy="722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6280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6858000" cy="530225"/>
          </a:xfrm>
        </p:spPr>
        <p:txBody>
          <a:bodyPr>
            <a:normAutofit/>
          </a:bodyPr>
          <a:lstStyle>
            <a:lvl1pPr>
              <a:defRPr sz="3000">
                <a:latin typeface="Futura PT Bold" panose="020B0902020204020203" pitchFamily="34" charset="-52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6220" y="429386"/>
            <a:ext cx="1444755" cy="722377"/>
          </a:xfrm>
          <a:prstGeom prst="rect">
            <a:avLst/>
          </a:prstGeom>
        </p:spPr>
      </p:pic>
      <p:sp>
        <p:nvSpPr>
          <p:cNvPr id="11" name="Объект 2"/>
          <p:cNvSpPr>
            <a:spLocks noGrp="1"/>
          </p:cNvSpPr>
          <p:nvPr>
            <p:ph idx="1" hasCustomPrompt="1"/>
          </p:nvPr>
        </p:nvSpPr>
        <p:spPr>
          <a:xfrm>
            <a:off x="838200" y="1979629"/>
            <a:ext cx="4856747" cy="4351338"/>
          </a:xfrm>
        </p:spPr>
        <p:txBody>
          <a:bodyPr/>
          <a:lstStyle>
            <a:lvl2pPr marL="457200" indent="0">
              <a:buNone/>
              <a:defRPr>
                <a:latin typeface="Futura PT Book" panose="020B0502020204020303" pitchFamily="34" charset="-52"/>
              </a:defRPr>
            </a:lvl2pPr>
          </a:lstStyle>
          <a:p>
            <a:pPr lvl="1"/>
            <a:r>
              <a:rPr lang="ru-RU" dirty="0"/>
              <a:t>текст </a:t>
            </a:r>
          </a:p>
        </p:txBody>
      </p:sp>
      <p:sp>
        <p:nvSpPr>
          <p:cNvPr id="12" name="Объект 2"/>
          <p:cNvSpPr>
            <a:spLocks noGrp="1"/>
          </p:cNvSpPr>
          <p:nvPr>
            <p:ph idx="10" hasCustomPrompt="1"/>
          </p:nvPr>
        </p:nvSpPr>
        <p:spPr>
          <a:xfrm>
            <a:off x="6031850" y="1979629"/>
            <a:ext cx="4856747" cy="4351338"/>
          </a:xfrm>
        </p:spPr>
        <p:txBody>
          <a:bodyPr/>
          <a:lstStyle>
            <a:lvl2pPr marL="4572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latin typeface="Futura PT Book" panose="020B0502020204020303" pitchFamily="34" charset="-52"/>
              </a:defRPr>
            </a:lvl2pPr>
          </a:lstStyle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uk-UA" dirty="0"/>
              <a:t>об’єк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0151803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136147" y="169797"/>
            <a:ext cx="4131177" cy="1090191"/>
          </a:xfrm>
        </p:spPr>
        <p:txBody>
          <a:bodyPr>
            <a:normAutofit/>
          </a:bodyPr>
          <a:lstStyle>
            <a:lvl1pPr>
              <a:defRPr sz="3000">
                <a:latin typeface="Futura PT Bold" panose="020B0902020204020203" pitchFamily="34" charset="-52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7411" y="163448"/>
            <a:ext cx="1444755" cy="722377"/>
          </a:xfrm>
          <a:prstGeom prst="rect">
            <a:avLst/>
          </a:prstGeom>
        </p:spPr>
      </p:pic>
      <p:sp>
        <p:nvSpPr>
          <p:cNvPr id="11" name="Объект 2"/>
          <p:cNvSpPr>
            <a:spLocks noGrp="1"/>
          </p:cNvSpPr>
          <p:nvPr>
            <p:ph idx="1" hasCustomPrompt="1"/>
          </p:nvPr>
        </p:nvSpPr>
        <p:spPr>
          <a:xfrm>
            <a:off x="1136148" y="1676320"/>
            <a:ext cx="5671052" cy="4702272"/>
          </a:xfrm>
        </p:spPr>
        <p:txBody>
          <a:bodyPr/>
          <a:lstStyle>
            <a:lvl2pPr marL="457200" indent="0">
              <a:buNone/>
              <a:defRPr>
                <a:latin typeface="Futura PT Book" panose="020B0502020204020303" pitchFamily="34" charset="-52"/>
              </a:defRPr>
            </a:lvl2pPr>
          </a:lstStyle>
          <a:p>
            <a:pPr lvl="1"/>
            <a:r>
              <a:rPr lang="ru-RU" dirty="0"/>
              <a:t>текст </a:t>
            </a:r>
          </a:p>
        </p:txBody>
      </p:sp>
      <p:sp>
        <p:nvSpPr>
          <p:cNvPr id="12" name="Объект 2"/>
          <p:cNvSpPr>
            <a:spLocks noGrp="1"/>
          </p:cNvSpPr>
          <p:nvPr>
            <p:ph idx="10" hasCustomPrompt="1"/>
          </p:nvPr>
        </p:nvSpPr>
        <p:spPr>
          <a:xfrm>
            <a:off x="8504044" y="885825"/>
            <a:ext cx="3278122" cy="5492767"/>
          </a:xfrm>
        </p:spPr>
        <p:txBody>
          <a:bodyPr/>
          <a:lstStyle>
            <a:lvl2pPr marL="4572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latin typeface="Futura PT Book" panose="020B0502020204020303" pitchFamily="34" charset="-52"/>
              </a:defRPr>
            </a:lvl2pPr>
          </a:lstStyle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uk-UA" dirty="0"/>
              <a:t>об’єк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674442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’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7E2AE4-B16F-4209-B8AE-3280A924DB9E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3422173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6858000" cy="530225"/>
          </a:xfrm>
        </p:spPr>
        <p:txBody>
          <a:bodyPr>
            <a:normAutofit/>
          </a:bodyPr>
          <a:lstStyle>
            <a:lvl1pPr>
              <a:defRPr sz="3000">
                <a:latin typeface="Futura PT Bold" panose="020B0902020204020203" pitchFamily="34" charset="-52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6220" y="429386"/>
            <a:ext cx="1444755" cy="722377"/>
          </a:xfrm>
          <a:prstGeom prst="rect">
            <a:avLst/>
          </a:prstGeom>
        </p:spPr>
      </p:pic>
      <p:sp>
        <p:nvSpPr>
          <p:cNvPr id="6" name="Объект 2"/>
          <p:cNvSpPr>
            <a:spLocks noGrp="1"/>
          </p:cNvSpPr>
          <p:nvPr>
            <p:ph idx="1" hasCustomPrompt="1"/>
          </p:nvPr>
        </p:nvSpPr>
        <p:spPr>
          <a:xfrm>
            <a:off x="838200" y="2027756"/>
            <a:ext cx="4856747" cy="4351338"/>
          </a:xfrm>
        </p:spPr>
        <p:txBody>
          <a:bodyPr/>
          <a:lstStyle>
            <a:lvl2pPr marL="457200" indent="0">
              <a:buNone/>
              <a:defRPr>
                <a:latin typeface="Futura PT Book" panose="020B0502020204020303" pitchFamily="34" charset="-52"/>
              </a:defRPr>
            </a:lvl2pPr>
          </a:lstStyle>
          <a:p>
            <a:pPr lvl="1"/>
            <a:r>
              <a:rPr lang="ru-RU" dirty="0"/>
              <a:t>текст </a:t>
            </a:r>
          </a:p>
        </p:txBody>
      </p:sp>
      <p:sp>
        <p:nvSpPr>
          <p:cNvPr id="8" name="Объект 2"/>
          <p:cNvSpPr>
            <a:spLocks noGrp="1"/>
          </p:cNvSpPr>
          <p:nvPr>
            <p:ph idx="10" hasCustomPrompt="1"/>
          </p:nvPr>
        </p:nvSpPr>
        <p:spPr>
          <a:xfrm>
            <a:off x="5937986" y="2027756"/>
            <a:ext cx="4856747" cy="4351338"/>
          </a:xfrm>
        </p:spPr>
        <p:txBody>
          <a:bodyPr/>
          <a:lstStyle>
            <a:lvl2pPr marL="4572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latin typeface="Futura PT Book" panose="020B0502020204020303" pitchFamily="34" charset="-52"/>
              </a:defRPr>
            </a:lvl2pPr>
          </a:lstStyle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uk-UA" dirty="0"/>
              <a:t>об’єк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14602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6858000" cy="530225"/>
          </a:xfrm>
        </p:spPr>
        <p:txBody>
          <a:bodyPr>
            <a:normAutofit/>
          </a:bodyPr>
          <a:lstStyle>
            <a:lvl1pPr>
              <a:defRPr sz="3000">
                <a:latin typeface="Futura PT Bold" panose="020B0902020204020203" pitchFamily="34" charset="-52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6220" y="429386"/>
            <a:ext cx="1444755" cy="722377"/>
          </a:xfrm>
          <a:prstGeom prst="rect">
            <a:avLst/>
          </a:prstGeom>
        </p:spPr>
      </p:pic>
      <p:sp>
        <p:nvSpPr>
          <p:cNvPr id="6" name="Объект 2"/>
          <p:cNvSpPr>
            <a:spLocks noGrp="1"/>
          </p:cNvSpPr>
          <p:nvPr>
            <p:ph idx="1" hasCustomPrompt="1"/>
          </p:nvPr>
        </p:nvSpPr>
        <p:spPr>
          <a:xfrm>
            <a:off x="838200" y="2027756"/>
            <a:ext cx="4856747" cy="4351338"/>
          </a:xfrm>
        </p:spPr>
        <p:txBody>
          <a:bodyPr/>
          <a:lstStyle>
            <a:lvl2pPr marL="457200" indent="0">
              <a:buNone/>
              <a:defRPr>
                <a:latin typeface="Futura PT Book" panose="020B0502020204020303" pitchFamily="34" charset="-52"/>
              </a:defRPr>
            </a:lvl2pPr>
          </a:lstStyle>
          <a:p>
            <a:pPr lvl="1"/>
            <a:r>
              <a:rPr lang="ru-RU" dirty="0"/>
              <a:t>текст </a:t>
            </a:r>
          </a:p>
        </p:txBody>
      </p:sp>
      <p:sp>
        <p:nvSpPr>
          <p:cNvPr id="8" name="Объект 2"/>
          <p:cNvSpPr>
            <a:spLocks noGrp="1"/>
          </p:cNvSpPr>
          <p:nvPr>
            <p:ph idx="10" hasCustomPrompt="1"/>
          </p:nvPr>
        </p:nvSpPr>
        <p:spPr>
          <a:xfrm>
            <a:off x="5937986" y="2027756"/>
            <a:ext cx="4856747" cy="4351338"/>
          </a:xfrm>
        </p:spPr>
        <p:txBody>
          <a:bodyPr/>
          <a:lstStyle>
            <a:lvl2pPr marL="457200" indent="0">
              <a:buNone/>
              <a:defRPr>
                <a:latin typeface="Futura PT Book" panose="020B0502020204020303" pitchFamily="34" charset="-52"/>
              </a:defRPr>
            </a:lvl2pPr>
          </a:lstStyle>
          <a:p>
            <a:pPr lvl="1"/>
            <a:r>
              <a:rPr lang="uk-UA" dirty="0"/>
              <a:t>об’єк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99893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11948" y="2232425"/>
            <a:ext cx="2965936" cy="895785"/>
          </a:xfrm>
        </p:spPr>
        <p:txBody>
          <a:bodyPr>
            <a:normAutofit/>
          </a:bodyPr>
          <a:lstStyle>
            <a:lvl1pPr>
              <a:defRPr sz="3000">
                <a:solidFill>
                  <a:schemeClr val="tx1"/>
                </a:solidFill>
                <a:latin typeface="Futura PT Bold" panose="020B0902020204020203" pitchFamily="34" charset="-52"/>
              </a:defRPr>
            </a:lvl1pPr>
          </a:lstStyle>
          <a:p>
            <a:r>
              <a:rPr lang="ru-RU" dirty="0" err="1"/>
              <a:t>зразок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66220" y="429386"/>
            <a:ext cx="1444755" cy="722377"/>
          </a:xfrm>
          <a:prstGeom prst="rect">
            <a:avLst/>
          </a:prstGeom>
        </p:spPr>
      </p:pic>
      <p:sp>
        <p:nvSpPr>
          <p:cNvPr id="6" name="Объект 2"/>
          <p:cNvSpPr>
            <a:spLocks noGrp="1"/>
          </p:cNvSpPr>
          <p:nvPr>
            <p:ph idx="1" hasCustomPrompt="1"/>
          </p:nvPr>
        </p:nvSpPr>
        <p:spPr>
          <a:xfrm>
            <a:off x="4785962" y="1728872"/>
            <a:ext cx="4856747" cy="4351338"/>
          </a:xfrm>
        </p:spPr>
        <p:txBody>
          <a:bodyPr/>
          <a:lstStyle>
            <a:lvl2pPr marL="457200" indent="0">
              <a:buNone/>
              <a:defRPr>
                <a:latin typeface="Futura PT Book" panose="020B0502020204020303" pitchFamily="34" charset="-52"/>
              </a:defRPr>
            </a:lvl2pPr>
          </a:lstStyle>
          <a:p>
            <a:pPr lvl="1"/>
            <a:r>
              <a:rPr lang="ru-RU" dirty="0"/>
              <a:t>текст </a:t>
            </a:r>
          </a:p>
        </p:txBody>
      </p:sp>
      <p:sp>
        <p:nvSpPr>
          <p:cNvPr id="8" name="Объект 2"/>
          <p:cNvSpPr>
            <a:spLocks noGrp="1"/>
          </p:cNvSpPr>
          <p:nvPr>
            <p:ph idx="10" hasCustomPrompt="1"/>
          </p:nvPr>
        </p:nvSpPr>
        <p:spPr>
          <a:xfrm>
            <a:off x="511948" y="3401260"/>
            <a:ext cx="3183752" cy="3183690"/>
          </a:xfrm>
        </p:spPr>
        <p:txBody>
          <a:bodyPr/>
          <a:lstStyle>
            <a:lvl2pPr marL="457200" marR="0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>
                <a:latin typeface="Futura PT Book" panose="020B0502020204020303" pitchFamily="34" charset="-52"/>
              </a:defRPr>
            </a:lvl2pPr>
          </a:lstStyle>
          <a:p>
            <a:pPr marL="457200" marR="0" lvl="1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uk-UA" dirty="0"/>
              <a:t>об’єк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8408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5" name="Місце для тексту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6" name="Місце для вмісту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7" name="Місце для дати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8" name="Місце для нижнього колонтитула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9" name="Місце для номера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7E2AE4-B16F-4209-B8AE-3280A924DB9E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8223607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дати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7E2AE4-B16F-4209-B8AE-3280A924DB9E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0409013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3" name="Місце для нижнього колонтитула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7E2AE4-B16F-4209-B8AE-3280A924DB9E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658721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Вміст і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7E2AE4-B16F-4209-B8AE-3280A924DB9E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5928384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зображення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 dirty="0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uk-UA"/>
              <a:t>Редагувати стиль зразка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7E2AE4-B16F-4209-B8AE-3280A924DB9E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1032316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ags" Target="../tags/tag1.x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20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tags" Target="../tags/tag17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heme" Target="../theme/theme2.xml"/><Relationship Id="rId24" Type="http://schemas.openxmlformats.org/officeDocument/2006/relationships/tags" Target="../tags/tag12.xml"/><Relationship Id="rId32" Type="http://schemas.openxmlformats.org/officeDocument/2006/relationships/image" Target="../media/image3.jpeg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7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51C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/>
              <a:t>Зразок заголовка</a:t>
            </a:r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/>
              <a:t>Редагувати стиль зразка тексту</a:t>
            </a:r>
          </a:p>
          <a:p>
            <a:pPr lvl="1"/>
            <a:r>
              <a:rPr lang="uk-UA"/>
              <a:t>Другий рівень</a:t>
            </a:r>
          </a:p>
          <a:p>
            <a:pPr lvl="2"/>
            <a:r>
              <a:rPr lang="uk-UA"/>
              <a:t>Третій рівень</a:t>
            </a:r>
          </a:p>
          <a:p>
            <a:pPr lvl="3"/>
            <a:r>
              <a:rPr lang="uk-UA"/>
              <a:t>Четвертий рівень</a:t>
            </a:r>
          </a:p>
          <a:p>
            <a:pPr lvl="4"/>
            <a:r>
              <a:rPr lang="uk-UA"/>
              <a:t>П’ятий рівень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7E2AE4-B16F-4209-B8AE-3280A924DB9E}" type="slidenum">
              <a:rPr lang="uk-UA" smtClean="0"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3560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89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51C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0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4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 rot="16200000" flipV="1">
            <a:off x="6051503" y="382141"/>
            <a:ext cx="75124" cy="12205873"/>
          </a:xfrm>
          <a:prstGeom prst="rect">
            <a:avLst/>
          </a:prstGeom>
          <a:solidFill>
            <a:srgbClr val="E1D80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57" name="Rectangle 56"/>
          <p:cNvSpPr/>
          <p:nvPr/>
        </p:nvSpPr>
        <p:spPr>
          <a:xfrm rot="16200000" flipV="1">
            <a:off x="6051503" y="308818"/>
            <a:ext cx="75124" cy="12205873"/>
          </a:xfrm>
          <a:prstGeom prst="rect">
            <a:avLst/>
          </a:prstGeom>
          <a:solidFill>
            <a:srgbClr val="004F3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2400" dirty="0">
              <a:solidFill>
                <a:schemeClr val="tx1"/>
              </a:solidFill>
            </a:endParaRPr>
          </a:p>
        </p:txBody>
      </p:sp>
      <p:pic>
        <p:nvPicPr>
          <p:cNvPr id="58" name="Рисунок 11" descr="oschad-01.jpg"/>
          <p:cNvPicPr/>
          <p:nvPr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75205" y="6209231"/>
            <a:ext cx="825075" cy="490776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6"/>
            <a:ext cx="11725484" cy="4103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lvl="0" rtl="0" latinLnBrk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3"/>
            <a:ext cx="65562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uk" sz="1067" cap="all" noProof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631584"/>
            <a:ext cx="11725484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rtlCol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rtl="0">
              <a:defRPr lang="x-none"/>
            </a:pPr>
            <a:r>
              <a:rPr lang="uk" sz="2133" noProof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gray">
          <a:xfrm>
            <a:off x="161986" y="6160129"/>
            <a:ext cx="10295705" cy="625213"/>
            <a:chOff x="75" y="3763"/>
            <a:chExt cx="4767" cy="38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75" y="3763"/>
              <a:ext cx="4767" cy="1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rtlCol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18530" indent="-118530" rtl="0">
                <a:defRPr lang="x-none"/>
              </a:pPr>
              <a:r>
                <a:rPr lang="uk" sz="1067" noProof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75" y="4048"/>
              <a:ext cx="4767" cy="10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rtlCol="0" anchor="ctr">
              <a:spAutoFit/>
            </a:bodyPr>
            <a:lstStyle/>
            <a:p>
              <a:pPr marL="690016" indent="-690016" defTabSz="1218026" rtl="0">
                <a:tabLst/>
              </a:pPr>
              <a:r>
                <a:rPr lang="uk" sz="1067" noProof="0">
                  <a:solidFill>
                    <a:schemeClr val="accent6"/>
                  </a:solidFill>
                  <a:latin typeface="+mn-lt"/>
                  <a:ea typeface="+mn-ea"/>
                </a:rPr>
                <a:t>SOURCE : Source</a:t>
              </a:r>
              <a:endParaRPr lang="en-US" sz="1067" baseline="0" noProof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371626" y="2615195"/>
            <a:ext cx="5801188" cy="16414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rtl="0" latinLnBrk="0"/>
            <a:r>
              <a:rPr lang="uk"/>
              <a:t>Click to edit Master text styles</a:t>
            </a:r>
          </a:p>
          <a:p>
            <a:pPr lvl="1" rtl="0" latinLnBrk="0"/>
            <a:r>
              <a:rPr lang="uk"/>
              <a:t>Second level</a:t>
            </a:r>
          </a:p>
          <a:p>
            <a:pPr lvl="2" rtl="0" latinLnBrk="0"/>
            <a:r>
              <a:rPr lang="uk"/>
              <a:t>Third level</a:t>
            </a:r>
          </a:p>
          <a:p>
            <a:pPr lvl="3" rtl="0" latinLnBrk="0"/>
            <a:r>
              <a:rPr lang="uk"/>
              <a:t>Fourth level</a:t>
            </a:r>
          </a:p>
          <a:p>
            <a:pPr lvl="4" rtl="0" latinLnBrk="0"/>
            <a:r>
              <a:rPr lang="uk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371623" y="1750367"/>
            <a:ext cx="5801188" cy="675436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rtlCol="0" anchor="b">
              <a:spAutoFit/>
            </a:bodyPr>
            <a:lstStyle/>
            <a:p>
              <a:pPr rtl="0"/>
              <a:r>
                <a:rPr lang="uk" sz="2133" b="1" noProof="0">
                  <a:latin typeface="+mn-lt"/>
                  <a:ea typeface="+mn-ea"/>
                </a:rPr>
                <a:t>Title</a:t>
              </a:r>
            </a:p>
            <a:p>
              <a:pPr rtl="0"/>
              <a:r>
                <a:rPr lang="uk" sz="2133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61" name="Slide Number"/>
          <p:cNvSpPr txBox="1">
            <a:spLocks/>
          </p:cNvSpPr>
          <p:nvPr/>
        </p:nvSpPr>
        <p:spPr bwMode="gray">
          <a:xfrm>
            <a:off x="11722362" y="6621168"/>
            <a:ext cx="165109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 rtl="0"/>
            <a:fld id="{42C328C1-A84F-4A39-A664-DBA00541A8C6}" type="slidenum">
              <a:rPr lang="x-none" sz="1067" baseline="0" smtClean="0">
                <a:solidFill>
                  <a:schemeClr val="accent6"/>
                </a:solidFill>
              </a:rPr>
              <a:pPr lvl="0" algn="r" rtl="0"/>
              <a:t>‹№›</a:t>
            </a:fld>
            <a:endParaRPr lang="x-none" sz="1067" baseline="0">
              <a:solidFill>
                <a:schemeClr val="accent6"/>
              </a:solidFill>
            </a:endParaRPr>
          </a:p>
        </p:txBody>
      </p:sp>
      <p:grpSp>
        <p:nvGrpSpPr>
          <p:cNvPr id="60" name="McKSticker" hidden="1"/>
          <p:cNvGrpSpPr/>
          <p:nvPr/>
        </p:nvGrpSpPr>
        <p:grpSpPr bwMode="gray">
          <a:xfrm>
            <a:off x="11256357" y="290498"/>
            <a:ext cx="631113" cy="201082"/>
            <a:chOff x="8267440" y="285750"/>
            <a:chExt cx="473335" cy="150811"/>
          </a:xfrm>
        </p:grpSpPr>
        <p:sp>
          <p:nvSpPr>
            <p:cNvPr id="62" name="StickerRectangle"/>
            <p:cNvSpPr>
              <a:spLocks noChangeArrowheads="1"/>
            </p:cNvSpPr>
            <p:nvPr/>
          </p:nvSpPr>
          <p:spPr bwMode="gray">
            <a:xfrm>
              <a:off x="8273964" y="285750"/>
              <a:ext cx="466811" cy="1439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 rtlCol="0">
              <a:spAutoFit/>
            </a:bodyPr>
            <a:lstStyle/>
            <a:p>
              <a:pPr algn="r" defTabSz="1193770" rtl="0">
                <a:buClr>
                  <a:srgbClr val="002960"/>
                </a:buClr>
              </a:pPr>
              <a:r>
                <a:rPr lang="uk" sz="1067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63" name="AutoShape 31"/>
            <p:cNvCxnSpPr>
              <a:cxnSpLocks noChangeShapeType="1"/>
              <a:stCxn id="62" idx="2"/>
              <a:endCxn id="62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32"/>
            <p:cNvCxnSpPr>
              <a:cxnSpLocks noChangeShapeType="1"/>
              <a:stCxn id="62" idx="4"/>
              <a:endCxn id="62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LegendBoxes" hidden="1"/>
          <p:cNvGrpSpPr/>
          <p:nvPr/>
        </p:nvGrpSpPr>
        <p:grpSpPr bwMode="gray">
          <a:xfrm>
            <a:off x="10869128" y="290498"/>
            <a:ext cx="1021545" cy="1329956"/>
            <a:chOff x="7835905" y="279400"/>
            <a:chExt cx="766159" cy="997467"/>
          </a:xfrm>
        </p:grpSpPr>
        <p:sp>
          <p:nvSpPr>
            <p:cNvPr id="66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7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8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69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rtlCol="0" anchor="ctr"/>
            <a:lstStyle/>
            <a:p>
              <a:pPr rtl="0"/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0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1215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rtlCol="0">
              <a:spAutoFit/>
            </a:bodyPr>
            <a:lstStyle/>
            <a:p>
              <a:pPr defTabSz="1193770" rtl="0">
                <a:buClr>
                  <a:schemeClr val="tx2"/>
                </a:buClr>
              </a:pPr>
              <a:r>
                <a:rPr lang="uk" sz="160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1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1215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rtlCol="0">
              <a:spAutoFit/>
            </a:bodyPr>
            <a:lstStyle/>
            <a:p>
              <a:pPr defTabSz="1193770" rtl="0">
                <a:buClr>
                  <a:schemeClr val="tx2"/>
                </a:buClr>
              </a:pPr>
              <a:r>
                <a:rPr lang="uk" sz="160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2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1215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rtlCol="0">
              <a:spAutoFit/>
            </a:bodyPr>
            <a:lstStyle/>
            <a:p>
              <a:pPr defTabSz="1193770" rtl="0">
                <a:buClr>
                  <a:schemeClr val="tx2"/>
                </a:buClr>
              </a:pPr>
              <a:r>
                <a:rPr lang="uk" sz="160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3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1215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rtlCol="0">
              <a:spAutoFit/>
            </a:bodyPr>
            <a:lstStyle/>
            <a:p>
              <a:pPr defTabSz="1193770" rtl="0">
                <a:buClr>
                  <a:schemeClr val="tx2"/>
                </a:buClr>
              </a:pPr>
              <a:r>
                <a:rPr lang="uk" sz="160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74" name="LegendLines" hidden="1"/>
          <p:cNvGrpSpPr/>
          <p:nvPr/>
        </p:nvGrpSpPr>
        <p:grpSpPr bwMode="gray">
          <a:xfrm>
            <a:off x="10458717" y="290498"/>
            <a:ext cx="1432178" cy="974356"/>
            <a:chOff x="7540629" y="279400"/>
            <a:chExt cx="1074134" cy="730767"/>
          </a:xfrm>
        </p:grpSpPr>
        <p:sp>
          <p:nvSpPr>
            <p:cNvPr id="75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/>
            <a:lstStyle/>
            <a:p>
              <a:pPr rtl="0"/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6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/>
            <a:lstStyle/>
            <a:p>
              <a:pPr rtl="0"/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7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tlCol="0"/>
            <a:lstStyle/>
            <a:p>
              <a:pPr rtl="0"/>
              <a:endParaRPr lang="x-none" sz="2400" baseline="0">
                <a:latin typeface="+mn-lt"/>
                <a:ea typeface="+mn-ea"/>
              </a:endParaRPr>
            </a:p>
          </p:txBody>
        </p:sp>
        <p:sp>
          <p:nvSpPr>
            <p:cNvPr id="78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1215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rtlCol="0">
              <a:spAutoFit/>
            </a:bodyPr>
            <a:lstStyle/>
            <a:p>
              <a:pPr defTabSz="1193770" rtl="0">
                <a:buClr>
                  <a:schemeClr val="tx2"/>
                </a:buClr>
              </a:pPr>
              <a:r>
                <a:rPr lang="uk" sz="160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79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1215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rtlCol="0">
              <a:spAutoFit/>
            </a:bodyPr>
            <a:lstStyle/>
            <a:p>
              <a:pPr defTabSz="1193770" rtl="0">
                <a:buClr>
                  <a:schemeClr val="tx2"/>
                </a:buClr>
              </a:pPr>
              <a:r>
                <a:rPr lang="uk" sz="160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0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1215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rtlCol="0">
              <a:spAutoFit/>
            </a:bodyPr>
            <a:lstStyle/>
            <a:p>
              <a:pPr defTabSz="1193770" rtl="0">
                <a:buClr>
                  <a:schemeClr val="tx2"/>
                </a:buClr>
              </a:pPr>
              <a:r>
                <a:rPr lang="uk" sz="160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81" name="LegendMoons" hidden="1"/>
          <p:cNvGrpSpPr/>
          <p:nvPr/>
        </p:nvGrpSpPr>
        <p:grpSpPr bwMode="gray">
          <a:xfrm>
            <a:off x="10780228" y="290497"/>
            <a:ext cx="1110445" cy="1742021"/>
            <a:chOff x="7769225" y="250825"/>
            <a:chExt cx="832834" cy="1306516"/>
          </a:xfrm>
        </p:grpSpPr>
        <p:grpSp>
          <p:nvGrpSpPr>
            <p:cNvPr id="82" name="MoonLegend1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100" name="Oval 38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rtlCol="0" anchor="ctr"/>
              <a:lstStyle/>
              <a:p>
                <a:pPr rtl="0"/>
                <a:endParaRPr lang="x-none" sz="2400" baseline="0">
                  <a:latin typeface="+mn-lt"/>
                  <a:ea typeface="+mn-ea"/>
                </a:endParaRPr>
              </a:p>
            </p:txBody>
          </p:sp>
          <p:sp>
            <p:nvSpPr>
              <p:cNvPr id="101" name="Arc 39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rtlCol="0" anchor="ctr"/>
              <a:lstStyle/>
              <a:p>
                <a:pPr rtl="0"/>
                <a:endParaRPr lang="x-none" sz="24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83" name="MoonLegend2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rtlCol="0" anchor="ctr"/>
              <a:lstStyle/>
              <a:p>
                <a:pPr rtl="0"/>
                <a:endParaRPr lang="x-none" sz="2400" baseline="0">
                  <a:latin typeface="+mn-lt"/>
                  <a:ea typeface="+mn-ea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rtlCol="0" anchor="ctr"/>
              <a:lstStyle/>
              <a:p>
                <a:pPr rtl="0"/>
                <a:endParaRPr lang="x-none" sz="24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84" name="MoonLegend4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rtlCol="0" anchor="ctr"/>
              <a:lstStyle/>
              <a:p>
                <a:pPr rtl="0"/>
                <a:endParaRPr lang="x-none" sz="2400" baseline="0">
                  <a:latin typeface="+mn-lt"/>
                  <a:ea typeface="+mn-ea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rtlCol="0" anchor="ctr"/>
              <a:lstStyle/>
              <a:p>
                <a:pPr rtl="0"/>
                <a:endParaRPr lang="x-none" sz="24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85" name="MoonLegend5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rtlCol="0" anchor="ctr"/>
              <a:lstStyle/>
              <a:p>
                <a:pPr rtl="0"/>
                <a:endParaRPr lang="x-none" sz="2400" baseline="0">
                  <a:latin typeface="+mn-lt"/>
                  <a:ea typeface="+mn-ea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rtlCol="0" anchor="ctr"/>
              <a:lstStyle/>
              <a:p>
                <a:pPr rtl="0"/>
                <a:endParaRPr lang="x-none" sz="2400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86" name="MoonLegend3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rtlCol="0" anchor="ctr"/>
              <a:lstStyle/>
              <a:p>
                <a:pPr rtl="0"/>
                <a:endParaRPr lang="x-none" sz="2400" baseline="0">
                  <a:latin typeface="+mn-lt"/>
                  <a:ea typeface="+mn-ea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rtlCol="0" anchor="ctr"/>
              <a:lstStyle/>
              <a:p>
                <a:pPr rtl="0"/>
                <a:endParaRPr lang="x-none" sz="2400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87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1215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rtlCol="0">
              <a:spAutoFit/>
            </a:bodyPr>
            <a:lstStyle/>
            <a:p>
              <a:pPr defTabSz="1193770" rtl="0">
                <a:buClr>
                  <a:schemeClr val="tx2"/>
                </a:buClr>
              </a:pPr>
              <a:r>
                <a:rPr lang="uk" sz="160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1215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rtlCol="0">
              <a:spAutoFit/>
            </a:bodyPr>
            <a:lstStyle/>
            <a:p>
              <a:pPr defTabSz="1193770" rtl="0">
                <a:buClr>
                  <a:schemeClr val="tx2"/>
                </a:buClr>
              </a:pPr>
              <a:r>
                <a:rPr lang="uk" sz="160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1215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rtlCol="0">
              <a:spAutoFit/>
            </a:bodyPr>
            <a:lstStyle/>
            <a:p>
              <a:pPr defTabSz="1193770" rtl="0">
                <a:buClr>
                  <a:schemeClr val="tx2"/>
                </a:buClr>
              </a:pPr>
              <a:r>
                <a:rPr lang="uk" sz="160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1215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rtlCol="0">
              <a:spAutoFit/>
            </a:bodyPr>
            <a:lstStyle/>
            <a:p>
              <a:pPr defTabSz="1193770" rtl="0">
                <a:buClr>
                  <a:schemeClr val="tx2"/>
                </a:buClr>
              </a:pPr>
              <a:r>
                <a:rPr lang="uk" sz="160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91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12159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rtlCol="0">
              <a:spAutoFit/>
            </a:bodyPr>
            <a:lstStyle/>
            <a:p>
              <a:pPr defTabSz="1193770" rtl="0">
                <a:buClr>
                  <a:schemeClr val="tx2"/>
                </a:buClr>
              </a:pPr>
              <a:r>
                <a:rPr lang="uk" sz="1600">
                  <a:latin typeface="+mn-lt"/>
                  <a:ea typeface="+mn-ea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61423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</p:sldLayoutIdLst>
  <p:hf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667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2133" baseline="0">
          <a:solidFill>
            <a:schemeClr val="tx1"/>
          </a:solidFill>
          <a:latin typeface="+mn-lt"/>
          <a:ea typeface="+mn-ea"/>
          <a:cs typeface="+mn-cs"/>
        </a:defRPr>
      </a:lvl1pPr>
      <a:lvl2pPr marL="256026" indent="-25602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2133" baseline="0">
          <a:solidFill>
            <a:schemeClr val="tx1"/>
          </a:solidFill>
          <a:latin typeface="+mn-lt"/>
        </a:defRPr>
      </a:lvl2pPr>
      <a:lvl3pPr marL="609585" indent="-35355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2133" baseline="0">
          <a:solidFill>
            <a:schemeClr val="tx1"/>
          </a:solidFill>
          <a:latin typeface="+mn-lt"/>
        </a:defRPr>
      </a:lvl3pPr>
      <a:lvl4pPr marL="835774" indent="-20725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2133" baseline="0">
          <a:solidFill>
            <a:schemeClr val="tx1"/>
          </a:solidFill>
          <a:latin typeface="+mn-lt"/>
        </a:defRPr>
      </a:lvl4pPr>
      <a:lvl5pPr marL="999719" indent="-170684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33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51C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74371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4" r:id="rId10"/>
    <p:sldLayoutId id="2147483685" r:id="rId11"/>
    <p:sldLayoutId id="2147483686" r:id="rId12"/>
  </p:sldLayoutIdLst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5" indent="-228605" algn="l" defTabSz="91442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1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2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40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63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5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8" indent="-228605" algn="l" defTabSz="91442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5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8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51C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0FB9BD-58B0-493E-9ED5-FDA9E1E3EBDA}" type="datetimeFigureOut">
              <a:rPr lang="ru-RU" smtClean="0"/>
              <a:t>12.07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F93106-B565-44D5-93AC-F33305BE50E1}" type="slidenum">
              <a:rPr lang="ru-RU" smtClean="0"/>
              <a:t>‹№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1908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28.xml"/><Relationship Id="rId7" Type="http://schemas.openxmlformats.org/officeDocument/2006/relationships/oleObject" Target="../embeddings/oleObject10.bin"/><Relationship Id="rId2" Type="http://schemas.openxmlformats.org/officeDocument/2006/relationships/tags" Target="../tags/tag27.xml"/><Relationship Id="rId1" Type="http://schemas.openxmlformats.org/officeDocument/2006/relationships/vmlDrawing" Target="../drawings/vmlDrawing9.vml"/><Relationship Id="rId6" Type="http://schemas.openxmlformats.org/officeDocument/2006/relationships/notesSlide" Target="../notesSlides/notesSlide1.xml"/><Relationship Id="rId11" Type="http://schemas.openxmlformats.org/officeDocument/2006/relationships/image" Target="../media/image21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0.png"/><Relationship Id="rId4" Type="http://schemas.openxmlformats.org/officeDocument/2006/relationships/tags" Target="../tags/tag29.xml"/><Relationship Id="rId9" Type="http://schemas.openxmlformats.org/officeDocument/2006/relationships/image" Target="../media/image1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18" Type="http://schemas.openxmlformats.org/officeDocument/2006/relationships/image" Target="../media/image29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12" Type="http://schemas.openxmlformats.org/officeDocument/2006/relationships/image" Target="../media/image60.png"/><Relationship Id="rId17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64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5" Type="http://schemas.openxmlformats.org/officeDocument/2006/relationships/image" Target="../media/image53.png"/><Relationship Id="rId15" Type="http://schemas.openxmlformats.org/officeDocument/2006/relationships/image" Target="../media/image63.png"/><Relationship Id="rId10" Type="http://schemas.openxmlformats.org/officeDocument/2006/relationships/image" Target="../media/image58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Relationship Id="rId14" Type="http://schemas.openxmlformats.org/officeDocument/2006/relationships/image" Target="../media/image6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18" Type="http://schemas.openxmlformats.org/officeDocument/2006/relationships/image" Target="../media/image19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12" Type="http://schemas.openxmlformats.org/officeDocument/2006/relationships/image" Target="../media/image60.png"/><Relationship Id="rId17" Type="http://schemas.openxmlformats.org/officeDocument/2006/relationships/image" Target="../media/image65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64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5" Type="http://schemas.openxmlformats.org/officeDocument/2006/relationships/image" Target="../media/image53.png"/><Relationship Id="rId15" Type="http://schemas.openxmlformats.org/officeDocument/2006/relationships/image" Target="../media/image63.png"/><Relationship Id="rId10" Type="http://schemas.openxmlformats.org/officeDocument/2006/relationships/image" Target="../media/image58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Relationship Id="rId14" Type="http://schemas.openxmlformats.org/officeDocument/2006/relationships/image" Target="../media/image6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13" Type="http://schemas.openxmlformats.org/officeDocument/2006/relationships/image" Target="../media/image69.png"/><Relationship Id="rId18" Type="http://schemas.openxmlformats.org/officeDocument/2006/relationships/image" Target="../media/image70.png"/><Relationship Id="rId3" Type="http://schemas.openxmlformats.org/officeDocument/2006/relationships/image" Target="../media/image56.png"/><Relationship Id="rId21" Type="http://schemas.openxmlformats.org/officeDocument/2006/relationships/image" Target="../media/image19.png"/><Relationship Id="rId7" Type="http://schemas.openxmlformats.org/officeDocument/2006/relationships/image" Target="../media/image52.png"/><Relationship Id="rId12" Type="http://schemas.openxmlformats.org/officeDocument/2006/relationships/image" Target="../media/image68.png"/><Relationship Id="rId17" Type="http://schemas.openxmlformats.org/officeDocument/2006/relationships/image" Target="../media/image64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55.png"/><Relationship Id="rId20" Type="http://schemas.openxmlformats.org/officeDocument/2006/relationships/image" Target="../media/image71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53.png"/><Relationship Id="rId11" Type="http://schemas.openxmlformats.org/officeDocument/2006/relationships/image" Target="../media/image54.png"/><Relationship Id="rId5" Type="http://schemas.openxmlformats.org/officeDocument/2006/relationships/image" Target="../media/image58.png"/><Relationship Id="rId15" Type="http://schemas.openxmlformats.org/officeDocument/2006/relationships/image" Target="../media/image63.png"/><Relationship Id="rId10" Type="http://schemas.openxmlformats.org/officeDocument/2006/relationships/image" Target="../media/image57.png"/><Relationship Id="rId19" Type="http://schemas.openxmlformats.org/officeDocument/2006/relationships/image" Target="../media/image51.png"/><Relationship Id="rId4" Type="http://schemas.openxmlformats.org/officeDocument/2006/relationships/image" Target="../media/image66.jpeg"/><Relationship Id="rId9" Type="http://schemas.openxmlformats.org/officeDocument/2006/relationships/image" Target="../media/image59.png"/><Relationship Id="rId14" Type="http://schemas.openxmlformats.org/officeDocument/2006/relationships/chart" Target="../charts/char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67.png"/><Relationship Id="rId18" Type="http://schemas.openxmlformats.org/officeDocument/2006/relationships/image" Target="../media/image73.png"/><Relationship Id="rId3" Type="http://schemas.openxmlformats.org/officeDocument/2006/relationships/image" Target="../media/image70.png"/><Relationship Id="rId7" Type="http://schemas.openxmlformats.org/officeDocument/2006/relationships/image" Target="../media/image58.png"/><Relationship Id="rId12" Type="http://schemas.openxmlformats.org/officeDocument/2006/relationships/image" Target="../media/image56.png"/><Relationship Id="rId17" Type="http://schemas.openxmlformats.org/officeDocument/2006/relationships/image" Target="../media/image63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69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66.jpeg"/><Relationship Id="rId11" Type="http://schemas.openxmlformats.org/officeDocument/2006/relationships/image" Target="../media/image55.png"/><Relationship Id="rId5" Type="http://schemas.openxmlformats.org/officeDocument/2006/relationships/image" Target="../media/image52.png"/><Relationship Id="rId15" Type="http://schemas.openxmlformats.org/officeDocument/2006/relationships/image" Target="../media/image57.png"/><Relationship Id="rId10" Type="http://schemas.openxmlformats.org/officeDocument/2006/relationships/image" Target="../media/image54.png"/><Relationship Id="rId19" Type="http://schemas.openxmlformats.org/officeDocument/2006/relationships/image" Target="../media/image19.png"/><Relationship Id="rId4" Type="http://schemas.openxmlformats.org/officeDocument/2006/relationships/image" Target="../media/image51.png"/><Relationship Id="rId9" Type="http://schemas.openxmlformats.org/officeDocument/2006/relationships/image" Target="../media/image72.png"/><Relationship Id="rId14" Type="http://schemas.openxmlformats.org/officeDocument/2006/relationships/image" Target="../media/image5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74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12" Type="http://schemas.openxmlformats.org/officeDocument/2006/relationships/image" Target="../media/image59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36.xml"/><Relationship Id="rId6" Type="http://schemas.openxmlformats.org/officeDocument/2006/relationships/image" Target="../media/image54.png"/><Relationship Id="rId11" Type="http://schemas.openxmlformats.org/officeDocument/2006/relationships/image" Target="../media/image58.png"/><Relationship Id="rId5" Type="http://schemas.openxmlformats.org/officeDocument/2006/relationships/image" Target="../media/image53.png"/><Relationship Id="rId15" Type="http://schemas.openxmlformats.org/officeDocument/2006/relationships/image" Target="../media/image75.png"/><Relationship Id="rId10" Type="http://schemas.openxmlformats.org/officeDocument/2006/relationships/image" Target="../media/image69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Relationship Id="rId14" Type="http://schemas.openxmlformats.org/officeDocument/2006/relationships/image" Target="../media/image6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86.png"/><Relationship Id="rId18" Type="http://schemas.microsoft.com/office/2018/10/relationships/comments" Target="../comments/modernComment_115_8C48A7DB.xml"/><Relationship Id="rId3" Type="http://schemas.openxmlformats.org/officeDocument/2006/relationships/image" Target="../media/image76.jpeg"/><Relationship Id="rId7" Type="http://schemas.openxmlformats.org/officeDocument/2006/relationships/image" Target="../media/image80.jpeg"/><Relationship Id="rId12" Type="http://schemas.openxmlformats.org/officeDocument/2006/relationships/image" Target="../media/image85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79.png"/><Relationship Id="rId11" Type="http://schemas.openxmlformats.org/officeDocument/2006/relationships/image" Target="../media/image84.png"/><Relationship Id="rId5" Type="http://schemas.openxmlformats.org/officeDocument/2006/relationships/image" Target="../media/image78.jpeg"/><Relationship Id="rId15" Type="http://schemas.openxmlformats.org/officeDocument/2006/relationships/image" Target="../media/image75.png"/><Relationship Id="rId10" Type="http://schemas.openxmlformats.org/officeDocument/2006/relationships/image" Target="../media/image83.png"/><Relationship Id="rId4" Type="http://schemas.openxmlformats.org/officeDocument/2006/relationships/image" Target="../media/image77.jpeg"/><Relationship Id="rId9" Type="http://schemas.openxmlformats.org/officeDocument/2006/relationships/image" Target="../media/image82.png"/><Relationship Id="rId14" Type="http://schemas.openxmlformats.org/officeDocument/2006/relationships/image" Target="../media/image8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jp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10" Type="http://schemas.openxmlformats.org/officeDocument/2006/relationships/image" Target="../media/image19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29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3.png"/><Relationship Id="rId12" Type="http://schemas.openxmlformats.org/officeDocument/2006/relationships/image" Target="../media/image15.svg"/><Relationship Id="rId2" Type="http://schemas.openxmlformats.org/officeDocument/2006/relationships/slideLayout" Target="../slideLayouts/slideLayout37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10" Type="http://schemas.openxmlformats.org/officeDocument/2006/relationships/image" Target="../media/image36.png"/><Relationship Id="rId4" Type="http://schemas.openxmlformats.org/officeDocument/2006/relationships/image" Target="../media/image30.png"/><Relationship Id="rId9" Type="http://schemas.openxmlformats.org/officeDocument/2006/relationships/image" Target="../media/image35.jpeg"/><Relationship Id="rId1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37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30.png"/><Relationship Id="rId7" Type="http://schemas.openxmlformats.org/officeDocument/2006/relationships/image" Target="../media/image41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Relationship Id="rId9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3" Type="http://schemas.openxmlformats.org/officeDocument/2006/relationships/image" Target="../media/image40.png"/><Relationship Id="rId7" Type="http://schemas.openxmlformats.org/officeDocument/2006/relationships/image" Target="../media/image45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44.png"/><Relationship Id="rId5" Type="http://schemas.openxmlformats.org/officeDocument/2006/relationships/image" Target="../media/image39.png"/><Relationship Id="rId10" Type="http://schemas.openxmlformats.org/officeDocument/2006/relationships/image" Target="../media/image29.png"/><Relationship Id="rId4" Type="http://schemas.openxmlformats.org/officeDocument/2006/relationships/image" Target="../media/image43.png"/><Relationship Id="rId9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7" Type="http://schemas.openxmlformats.org/officeDocument/2006/relationships/hyperlink" Target="https://oschadbusiness.com/" TargetMode="External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29.png"/><Relationship Id="rId5" Type="http://schemas.openxmlformats.org/officeDocument/2006/relationships/image" Target="../media/image19.png"/><Relationship Id="rId4" Type="http://schemas.openxmlformats.org/officeDocument/2006/relationships/image" Target="../media/image4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"/>
          <p:cNvSpPr/>
          <p:nvPr/>
        </p:nvSpPr>
        <p:spPr>
          <a:xfrm>
            <a:off x="0" y="-8377"/>
            <a:ext cx="12192000" cy="8922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E341D02-BD96-4C24-B728-AE905E332D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03" name="think-cell Slide" r:id="rId7" imgW="526" imgH="526" progId="TCLayout.ActiveDocument.1">
                  <p:embed/>
                </p:oleObj>
              </mc:Choice>
              <mc:Fallback>
                <p:oleObj name="think-cell Slide" r:id="rId7" imgW="526" imgH="5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E341D02-BD96-4C24-B728-AE905E332D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кут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6E1EB67-7E7E-4833-8B84-2CDCB9D6D48F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pic>
        <p:nvPicPr>
          <p:cNvPr id="42" name="Рисунок 41">
            <a:extLst>
              <a:ext uri="{FF2B5EF4-FFF2-40B4-BE49-F238E27FC236}">
                <a16:creationId xmlns:a16="http://schemas.microsoft.com/office/drawing/2014/main" id="{C13F1655-8EED-725C-47C4-44371E617CC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21956" y="115596"/>
            <a:ext cx="1743312" cy="67483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80AF28A-DB33-2F41-6589-90310CAA62ED}"/>
              </a:ext>
            </a:extLst>
          </p:cNvPr>
          <p:cNvSpPr txBox="1"/>
          <p:nvPr/>
        </p:nvSpPr>
        <p:spPr>
          <a:xfrm>
            <a:off x="345440" y="6187440"/>
            <a:ext cx="18186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dirty="0" smtClean="0">
                <a:solidFill>
                  <a:schemeClr val="bg1"/>
                </a:solidFill>
              </a:rPr>
              <a:t>липень 2023</a:t>
            </a:r>
            <a:endParaRPr lang="uk-UA" dirty="0">
              <a:solidFill>
                <a:schemeClr val="bg1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3701CAE-07CE-49F7-033F-FE1487EF2F45}"/>
              </a:ext>
            </a:extLst>
          </p:cNvPr>
          <p:cNvSpPr/>
          <p:nvPr/>
        </p:nvSpPr>
        <p:spPr>
          <a:xfrm>
            <a:off x="422223" y="4409162"/>
            <a:ext cx="41363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b="1" dirty="0">
                <a:solidFill>
                  <a:schemeClr val="bg1"/>
                </a:solidFill>
                <a:ea typeface="Helvetica Light"/>
                <a:cs typeface="Helvetica Light"/>
              </a:rPr>
              <a:t>ПРАЦЮЄМО НА ВІДБУДОВУ УКРАЇНИ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AC19E51-EE94-2966-B5D9-B6BCAF18EF2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760720" y="1188720"/>
            <a:ext cx="6122473" cy="540165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4A3111AD-5349-E0A7-30A0-234DC53CE6F4}"/>
              </a:ext>
            </a:extLst>
          </p:cNvPr>
          <p:cNvPicPr/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751" y="179831"/>
            <a:ext cx="1156107" cy="546360"/>
          </a:xfrm>
          <a:prstGeom prst="rect">
            <a:avLst/>
          </a:prstGeom>
          <a:noFill/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96FC3561-B344-7633-5EB6-EFF82BF0FC71}"/>
              </a:ext>
            </a:extLst>
          </p:cNvPr>
          <p:cNvSpPr/>
          <p:nvPr/>
        </p:nvSpPr>
        <p:spPr>
          <a:xfrm>
            <a:off x="422223" y="1369916"/>
            <a:ext cx="6060843" cy="236896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>
              <a:spcBef>
                <a:spcPct val="0"/>
              </a:spcBef>
              <a:spcAft>
                <a:spcPts val="300"/>
              </a:spcAft>
            </a:pPr>
            <a:r>
              <a:rPr lang="uk-UA" sz="4800" b="1" dirty="0">
                <a:solidFill>
                  <a:schemeClr val="bg1"/>
                </a:solidFill>
                <a:latin typeface="Arial Black" panose="020B0A04020102020204" pitchFamily="34" charset="0"/>
                <a:ea typeface="+mj-ea"/>
                <a:cs typeface="+mj-cs"/>
              </a:rPr>
              <a:t>ОЩАДБАНК</a:t>
            </a:r>
            <a:r>
              <a:rPr lang="en-US" sz="41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</a:t>
            </a:r>
            <a:r>
              <a:rPr lang="uk-UA" sz="41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надійний партнер </a:t>
            </a:r>
          </a:p>
        </p:txBody>
      </p:sp>
    </p:spTree>
    <p:extLst>
      <p:ext uri="{BB962C8B-B14F-4D97-AF65-F5344CB8AC3E}">
        <p14:creationId xmlns:p14="http://schemas.microsoft.com/office/powerpoint/2010/main" val="359961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Прямоугольник 1"/>
          <p:cNvSpPr/>
          <p:nvPr/>
        </p:nvSpPr>
        <p:spPr>
          <a:xfrm>
            <a:off x="0" y="-72339"/>
            <a:ext cx="12192000" cy="886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3" name="Рисунок 7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8198" y="-64256"/>
            <a:ext cx="871975" cy="804610"/>
          </a:xfrm>
          <a:prstGeom prst="rect">
            <a:avLst/>
          </a:prstGeom>
        </p:spPr>
      </p:pic>
      <p:pic>
        <p:nvPicPr>
          <p:cNvPr id="74" name="Рисунок 7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0012" y="91367"/>
            <a:ext cx="696746" cy="628846"/>
          </a:xfrm>
          <a:prstGeom prst="rect">
            <a:avLst/>
          </a:prstGeom>
        </p:spPr>
      </p:pic>
      <p:pic>
        <p:nvPicPr>
          <p:cNvPr id="80" name="Рисунок 7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998" y="1316501"/>
            <a:ext cx="430138" cy="432000"/>
          </a:xfrm>
          <a:prstGeom prst="rect">
            <a:avLst/>
          </a:prstGeom>
        </p:spPr>
      </p:pic>
      <p:pic>
        <p:nvPicPr>
          <p:cNvPr id="82" name="Рисунок 8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5844" y="4642226"/>
            <a:ext cx="432000" cy="432000"/>
          </a:xfrm>
          <a:prstGeom prst="rect">
            <a:avLst/>
          </a:prstGeom>
        </p:spPr>
      </p:pic>
      <p:sp>
        <p:nvSpPr>
          <p:cNvPr id="91" name="Прямоугольник 10"/>
          <p:cNvSpPr/>
          <p:nvPr/>
        </p:nvSpPr>
        <p:spPr>
          <a:xfrm>
            <a:off x="840756" y="1836237"/>
            <a:ext cx="5102280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0 тис. грн.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творити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робоче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ісце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ід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50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250 тис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грн.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творити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робочих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ісця</a:t>
            </a:r>
            <a:endParaRPr kumimoji="0" lang="uk-UA" sz="12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грант, який надається одному отримувачу, визначається відповідно до його запиту, але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менше 50 тис. грн.</a:t>
            </a:r>
            <a:endParaRPr kumimoji="0" lang="uk-UA" sz="12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2" name="Прямоугольник 12"/>
          <p:cNvSpPr/>
          <p:nvPr/>
        </p:nvSpPr>
        <p:spPr>
          <a:xfrm>
            <a:off x="842823" y="2579888"/>
            <a:ext cx="5253841" cy="27007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ля покриття таких витрат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як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дбання меблів, обладнання (крім транспортних засобів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uk-U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обхідного для провадження господарської діяльності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купівля </a:t>
            </a:r>
            <a:r>
              <a:rPr kumimoji="0" lang="uk-U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іцензійного програмного забезпечення, тварин, сировини, матеріалів, товарів та послуг, пов’язаних з виробництвом продукції/ наданням послуг (якщо такі витрати становлять </a:t>
            </a:r>
            <a:r>
              <a:rPr kumimoji="0" lang="uk-UA" sz="1050" b="0" i="0" u="sng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більше </a:t>
            </a:r>
            <a:r>
              <a:rPr kumimoji="0" lang="uk-UA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0 </a:t>
            </a:r>
            <a:r>
              <a:rPr kumimoji="0" lang="en-US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  <a:r>
              <a:rPr kumimoji="0" lang="uk-UA" sz="1050" b="0" i="0" u="sng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зміру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анту)</a:t>
            </a: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слуги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ркетингу та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клами (якщо така послуга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ановить </a:t>
            </a:r>
            <a:r>
              <a:rPr kumimoji="0" lang="ru-RU" sz="1050" b="0" i="0" u="sng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</a:t>
            </a:r>
            <a:r>
              <a:rPr kumimoji="0" lang="uk-UA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ільше</a:t>
            </a:r>
            <a:r>
              <a:rPr kumimoji="0" lang="ru-RU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 </a:t>
            </a:r>
            <a:r>
              <a:rPr kumimoji="0" lang="en-US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  <a:r>
              <a:rPr kumimoji="0" lang="ru-RU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зміру гранту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uk-UA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ендна плата за нежитлове приміщення </a:t>
            </a:r>
            <a:r>
              <a:rPr kumimoji="0" lang="uk-U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якщо такі витрати становлять </a:t>
            </a:r>
            <a:r>
              <a:rPr kumimoji="0" lang="uk-UA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більше 25 %</a:t>
            </a:r>
            <a:r>
              <a:rPr kumimoji="0" lang="uk-UA" sz="1050" b="0" i="0" u="sng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зміру гранту)</a:t>
            </a: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ендна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лата за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ладнання (якщо така орендна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лата становить </a:t>
            </a:r>
            <a:r>
              <a:rPr kumimoji="0" lang="ru-RU" sz="1050" b="0" i="0" u="sng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</a:t>
            </a:r>
            <a:r>
              <a:rPr kumimoji="0" lang="uk-UA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ільше</a:t>
            </a:r>
            <a:r>
              <a:rPr kumimoji="0" lang="ru-RU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50" b="0" i="0" u="sng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 </a:t>
            </a:r>
            <a:r>
              <a:rPr kumimoji="0" lang="en-US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зміру гранту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;</a:t>
            </a:r>
            <a:endParaRPr kumimoji="0" lang="uk-UA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ізинг </a:t>
            </a:r>
            <a:r>
              <a:rPr kumimoji="0" lang="uk-U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ладнання (крім автомобілів, мотоциклів та інших  транспортних засобів особистого користування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икористання у підприємницькій діяльності прав інших суб’єктів господарювання (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ерційна концесія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uk-UA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93" name="Рисунок 9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998" y="1836307"/>
            <a:ext cx="432000" cy="432000"/>
          </a:xfrm>
          <a:prstGeom prst="rect">
            <a:avLst/>
          </a:prstGeom>
        </p:spPr>
      </p:pic>
      <p:sp>
        <p:nvSpPr>
          <p:cNvPr id="102" name="Прямоугольник 51"/>
          <p:cNvSpPr/>
          <p:nvPr/>
        </p:nvSpPr>
        <p:spPr>
          <a:xfrm>
            <a:off x="10092072" y="5160232"/>
            <a:ext cx="19506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ржава перераховує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зміру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анту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Прямоугольник 52"/>
          <p:cNvSpPr/>
          <p:nvPr/>
        </p:nvSpPr>
        <p:spPr>
          <a:xfrm>
            <a:off x="6533941" y="5143723"/>
            <a:ext cx="3390046" cy="146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римувач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ідкриває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хунок в банку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на протязі 15 робочих днів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 дня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римання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зитивного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ішення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D4CD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Оплата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итрат, пов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’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язаних з реалізацією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екту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водиться уповноваженим банком на підставі рахунків-фактур та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говору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9" name="Рисунок 10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9778" y="4696929"/>
            <a:ext cx="652929" cy="326464"/>
          </a:xfrm>
          <a:prstGeom prst="rect">
            <a:avLst/>
          </a:prstGeom>
        </p:spPr>
      </p:pic>
      <p:pic>
        <p:nvPicPr>
          <p:cNvPr id="113" name="Рисунок 1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534" y="4647133"/>
            <a:ext cx="430138" cy="432000"/>
          </a:xfrm>
          <a:prstGeom prst="rect">
            <a:avLst/>
          </a:prstGeom>
        </p:spPr>
      </p:pic>
      <p:cxnSp>
        <p:nvCxnSpPr>
          <p:cNvPr id="114" name="Прямая со стрелкой 63"/>
          <p:cNvCxnSpPr/>
          <p:nvPr/>
        </p:nvCxnSpPr>
        <p:spPr>
          <a:xfrm flipH="1">
            <a:off x="7300877" y="4767999"/>
            <a:ext cx="1248199" cy="193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 стрелкой 64"/>
          <p:cNvCxnSpPr/>
          <p:nvPr/>
        </p:nvCxnSpPr>
        <p:spPr>
          <a:xfrm flipV="1">
            <a:off x="7306926" y="4931340"/>
            <a:ext cx="1248199" cy="193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 стрелкой 65"/>
          <p:cNvCxnSpPr/>
          <p:nvPr/>
        </p:nvCxnSpPr>
        <p:spPr>
          <a:xfrm flipH="1">
            <a:off x="9519003" y="4858226"/>
            <a:ext cx="1248199" cy="193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8" name="Рисунок 117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6720" y="4412613"/>
            <a:ext cx="252000" cy="252000"/>
          </a:xfrm>
          <a:prstGeom prst="rect">
            <a:avLst/>
          </a:prstGeom>
        </p:spPr>
      </p:pic>
      <p:cxnSp>
        <p:nvCxnSpPr>
          <p:cNvPr id="124" name="Прямая соединительная линия 89"/>
          <p:cNvCxnSpPr/>
          <p:nvPr/>
        </p:nvCxnSpPr>
        <p:spPr>
          <a:xfrm>
            <a:off x="6107596" y="1424522"/>
            <a:ext cx="0" cy="5211430"/>
          </a:xfrm>
          <a:prstGeom prst="line">
            <a:avLst/>
          </a:prstGeom>
          <a:ln w="19050">
            <a:solidFill>
              <a:srgbClr val="D4CD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90"/>
          <p:cNvCxnSpPr/>
          <p:nvPr/>
        </p:nvCxnSpPr>
        <p:spPr>
          <a:xfrm flipV="1">
            <a:off x="6384644" y="4259604"/>
            <a:ext cx="5658060" cy="13771"/>
          </a:xfrm>
          <a:prstGeom prst="line">
            <a:avLst/>
          </a:prstGeom>
          <a:ln w="19050">
            <a:solidFill>
              <a:srgbClr val="D4CD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Скругленный прямоугольник 66"/>
          <p:cNvSpPr/>
          <p:nvPr/>
        </p:nvSpPr>
        <p:spPr>
          <a:xfrm>
            <a:off x="8626766" y="1094801"/>
            <a:ext cx="1825850" cy="31959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C51B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Процес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C51B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28" name="Скругленный прямоугольник 67"/>
          <p:cNvSpPr/>
          <p:nvPr/>
        </p:nvSpPr>
        <p:spPr>
          <a:xfrm>
            <a:off x="2202054" y="869844"/>
            <a:ext cx="1825850" cy="31959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Умов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50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33" name="Прямоугольник 47"/>
          <p:cNvSpPr/>
          <p:nvPr/>
        </p:nvSpPr>
        <p:spPr>
          <a:xfrm>
            <a:off x="284844" y="5669147"/>
            <a:ext cx="582275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рок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икористання гранту не повинен перевищувати 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6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ісяців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 часу отримання коштів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ворити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ові робочі місця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лежно від суми гранту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вадити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ідприємницьку діяльність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 дня отримання гранту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тягом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                  не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нше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 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оків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плачувати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 бюджету податки та збори протягом не менше 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 років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Скругленный прямоугольник 59"/>
          <p:cNvSpPr/>
          <p:nvPr/>
        </p:nvSpPr>
        <p:spPr>
          <a:xfrm>
            <a:off x="1997648" y="5330689"/>
            <a:ext cx="1825850" cy="31959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Вимог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pic>
        <p:nvPicPr>
          <p:cNvPr id="67" name="Рисунок 66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1331" y="1392619"/>
            <a:ext cx="430138" cy="432000"/>
          </a:xfrm>
          <a:prstGeom prst="rect">
            <a:avLst/>
          </a:prstGeom>
        </p:spPr>
      </p:pic>
      <p:pic>
        <p:nvPicPr>
          <p:cNvPr id="68" name="Рисунок 6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299" y="1396689"/>
            <a:ext cx="430138" cy="432000"/>
          </a:xfrm>
          <a:prstGeom prst="rect">
            <a:avLst/>
          </a:prstGeom>
        </p:spPr>
      </p:pic>
      <p:pic>
        <p:nvPicPr>
          <p:cNvPr id="69" name="Рисунок 6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009" y="1424522"/>
            <a:ext cx="375164" cy="375164"/>
          </a:xfrm>
          <a:prstGeom prst="rect">
            <a:avLst/>
          </a:prstGeom>
        </p:spPr>
      </p:pic>
      <p:sp>
        <p:nvSpPr>
          <p:cNvPr id="72" name="Прямоугольник 48"/>
          <p:cNvSpPr/>
          <p:nvPr/>
        </p:nvSpPr>
        <p:spPr>
          <a:xfrm>
            <a:off x="10334423" y="1835516"/>
            <a:ext cx="1758341" cy="5524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евірка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и </a:t>
            </a:r>
            <a:b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нком </a:t>
            </a: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 5 </a:t>
            </a:r>
            <a:r>
              <a:rPr kumimoji="0" lang="uk-UA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іб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D4CD00"/>
              </a:solidFill>
              <a:effectLst/>
              <a:uLnTx/>
              <a:uFillTx/>
              <a:latin typeface="Arial Black" panose="020B0A040201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3" name="Прямоугольник 49"/>
          <p:cNvSpPr/>
          <p:nvPr/>
        </p:nvSpPr>
        <p:spPr>
          <a:xfrm>
            <a:off x="6717137" y="3462677"/>
            <a:ext cx="25286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ЦЗ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відомляє про рішення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римувача</a:t>
            </a: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ЦЗ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відомляє про рішення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економіки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нк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6" name="Прямоугольник 50"/>
          <p:cNvSpPr/>
          <p:nvPr/>
        </p:nvSpPr>
        <p:spPr>
          <a:xfrm>
            <a:off x="9554565" y="3437213"/>
            <a:ext cx="2552265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півбесіда з РЦЗ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ЦЗ приймає рішення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 надання гранту </a:t>
            </a:r>
            <a:r>
              <a:rPr kumimoji="0" lang="uk-UA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 </a:t>
            </a: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 діб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D4CD00"/>
              </a:solidFill>
              <a:effectLst/>
              <a:uLnTx/>
              <a:uFillTx/>
              <a:latin typeface="Arial Black" panose="020B0A040201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7" name="Рисунок 8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494" y="1898704"/>
            <a:ext cx="652929" cy="326464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1852" y="3080874"/>
            <a:ext cx="652929" cy="326464"/>
          </a:xfrm>
          <a:prstGeom prst="rect">
            <a:avLst/>
          </a:prstGeom>
        </p:spPr>
      </p:pic>
      <p:cxnSp>
        <p:nvCxnSpPr>
          <p:cNvPr id="98" name="Соединительная линия уступом 59"/>
          <p:cNvCxnSpPr>
            <a:stCxn id="67" idx="3"/>
            <a:endCxn id="87" idx="0"/>
          </p:cNvCxnSpPr>
          <p:nvPr/>
        </p:nvCxnSpPr>
        <p:spPr>
          <a:xfrm>
            <a:off x="8211469" y="1608619"/>
            <a:ext cx="1796490" cy="290085"/>
          </a:xfrm>
          <a:prstGeom prst="bentConnector2">
            <a:avLst/>
          </a:prstGeom>
          <a:ln w="1905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 стрелкой 60"/>
          <p:cNvCxnSpPr>
            <a:stCxn id="87" idx="2"/>
          </p:cNvCxnSpPr>
          <p:nvPr/>
        </p:nvCxnSpPr>
        <p:spPr>
          <a:xfrm flipH="1">
            <a:off x="10007958" y="2225168"/>
            <a:ext cx="1" cy="816952"/>
          </a:xfrm>
          <a:prstGeom prst="straightConnector1">
            <a:avLst/>
          </a:prstGeom>
          <a:ln w="1905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 стрелкой 61"/>
          <p:cNvCxnSpPr>
            <a:stCxn id="60" idx="1"/>
            <a:endCxn id="89" idx="3"/>
          </p:cNvCxnSpPr>
          <p:nvPr/>
        </p:nvCxnSpPr>
        <p:spPr>
          <a:xfrm flipH="1" flipV="1">
            <a:off x="8434781" y="3244106"/>
            <a:ext cx="1319268" cy="11954"/>
          </a:xfrm>
          <a:prstGeom prst="straightConnector1">
            <a:avLst/>
          </a:prstGeom>
          <a:ln w="1905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7" name="Рисунок 136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6578" y="1411390"/>
            <a:ext cx="252000" cy="252000"/>
          </a:xfrm>
          <a:prstGeom prst="rect">
            <a:avLst/>
          </a:prstGeom>
        </p:spPr>
      </p:pic>
      <p:pic>
        <p:nvPicPr>
          <p:cNvPr id="138" name="Рисунок 137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0018" y="3012265"/>
            <a:ext cx="425349" cy="425349"/>
          </a:xfrm>
          <a:prstGeom prst="rect">
            <a:avLst/>
          </a:prstGeom>
        </p:spPr>
      </p:pic>
      <p:pic>
        <p:nvPicPr>
          <p:cNvPr id="139" name="Рисунок 13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5753" y="3005213"/>
            <a:ext cx="430138" cy="432000"/>
          </a:xfrm>
          <a:prstGeom prst="rect">
            <a:avLst/>
          </a:prstGeom>
        </p:spPr>
      </p:pic>
      <p:sp>
        <p:nvSpPr>
          <p:cNvPr id="62" name="Прямоугольник 4"/>
          <p:cNvSpPr/>
          <p:nvPr/>
        </p:nvSpPr>
        <p:spPr>
          <a:xfrm>
            <a:off x="869342" y="1180966"/>
            <a:ext cx="16371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ізичні особи</a:t>
            </a:r>
            <a:endParaRPr kumimoji="0" lang="uk-UA" sz="12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юридичні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оби </a:t>
            </a:r>
            <a:endParaRPr kumimoji="0" lang="uk-UA" sz="12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бо ФОП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0" name="Прямоугольник 41"/>
          <p:cNvSpPr/>
          <p:nvPr/>
        </p:nvSpPr>
        <p:spPr>
          <a:xfrm>
            <a:off x="6720550" y="1916666"/>
            <a:ext cx="14118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собисто через  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b-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ртал Дія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Прямоугольник 15"/>
          <p:cNvSpPr/>
          <p:nvPr/>
        </p:nvSpPr>
        <p:spPr>
          <a:xfrm>
            <a:off x="6768723" y="2373166"/>
            <a:ext cx="3155263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-1800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а</a:t>
            </a:r>
          </a:p>
          <a:p>
            <a:pPr marL="0" marR="0" lvl="0" indent="-1800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знес-план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30510" y="94010"/>
            <a:ext cx="606173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3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«єРобота</a:t>
            </a:r>
            <a:r>
              <a:rPr kumimoji="0" lang="uk-UA" sz="3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: СВОЯ СПРАВА</a:t>
            </a:r>
            <a:r>
              <a:rPr kumimoji="0" lang="uk-UA" sz="3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»</a:t>
            </a: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037" y="20475"/>
            <a:ext cx="766744" cy="733828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4049" y="3001472"/>
            <a:ext cx="513965" cy="509176"/>
          </a:xfrm>
          <a:prstGeom prst="rect">
            <a:avLst/>
          </a:prstGeom>
        </p:spPr>
      </p:pic>
      <p:pic>
        <p:nvPicPr>
          <p:cNvPr id="66" name="Рисунок 65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4573" y="1279542"/>
            <a:ext cx="432000" cy="432000"/>
          </a:xfrm>
          <a:prstGeom prst="rect">
            <a:avLst/>
          </a:prstGeom>
        </p:spPr>
      </p:pic>
      <p:sp>
        <p:nvSpPr>
          <p:cNvPr id="70" name="Прямоугольник 6"/>
          <p:cNvSpPr/>
          <p:nvPr/>
        </p:nvSpPr>
        <p:spPr>
          <a:xfrm>
            <a:off x="3161377" y="1341277"/>
            <a:ext cx="21921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ворення робочих місць</a:t>
            </a:r>
            <a:endParaRPr kumimoji="0" lang="uk-UA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1" name="Рисунок 70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222136" y="2556403"/>
            <a:ext cx="432000" cy="432000"/>
          </a:xfrm>
          <a:prstGeom prst="rect">
            <a:avLst/>
          </a:prstGeom>
        </p:spPr>
      </p:pic>
      <p:sp>
        <p:nvSpPr>
          <p:cNvPr id="75" name="Прямоугольник 56"/>
          <p:cNvSpPr/>
          <p:nvPr/>
        </p:nvSpPr>
        <p:spPr>
          <a:xfrm>
            <a:off x="9390717" y="6518458"/>
            <a:ext cx="270204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рант 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дається у безготівковому вигляді</a:t>
            </a:r>
            <a:endParaRPr kumimoji="0" lang="uk-UA" sz="10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C13F1655-8EED-725C-47C4-44371E617CC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900693" y="104651"/>
            <a:ext cx="1228057" cy="595292"/>
          </a:xfrm>
          <a:prstGeom prst="rect">
            <a:avLst/>
          </a:prstGeom>
        </p:spPr>
      </p:pic>
      <p:pic>
        <p:nvPicPr>
          <p:cNvPr id="49" name="Рисунок 48">
            <a:extLst>
              <a:ext uri="{FF2B5EF4-FFF2-40B4-BE49-F238E27FC236}">
                <a16:creationId xmlns:a16="http://schemas.microsoft.com/office/drawing/2014/main" id="{D7E90E18-ABC5-A37E-EA42-7826C0D0032C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52044" y="162560"/>
            <a:ext cx="940720" cy="500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761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Прямоугольник 1"/>
          <p:cNvSpPr/>
          <p:nvPr/>
        </p:nvSpPr>
        <p:spPr>
          <a:xfrm>
            <a:off x="0" y="-135182"/>
            <a:ext cx="12192000" cy="886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3" name="Рисунок 7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8352" y="-14733"/>
            <a:ext cx="841903" cy="723361"/>
          </a:xfrm>
          <a:prstGeom prst="rect">
            <a:avLst/>
          </a:prstGeom>
        </p:spPr>
      </p:pic>
      <p:pic>
        <p:nvPicPr>
          <p:cNvPr id="74" name="Рисунок 7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5987" y="70504"/>
            <a:ext cx="681236" cy="625834"/>
          </a:xfrm>
          <a:prstGeom prst="rect">
            <a:avLst/>
          </a:prstGeom>
        </p:spPr>
      </p:pic>
      <p:pic>
        <p:nvPicPr>
          <p:cNvPr id="80" name="Рисунок 7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998" y="1173136"/>
            <a:ext cx="430138" cy="432000"/>
          </a:xfrm>
          <a:prstGeom prst="rect">
            <a:avLst/>
          </a:prstGeom>
        </p:spPr>
      </p:pic>
      <p:pic>
        <p:nvPicPr>
          <p:cNvPr id="82" name="Рисунок 8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4574" y="4417273"/>
            <a:ext cx="432000" cy="432000"/>
          </a:xfrm>
          <a:prstGeom prst="rect">
            <a:avLst/>
          </a:prstGeom>
        </p:spPr>
      </p:pic>
      <p:sp>
        <p:nvSpPr>
          <p:cNvPr id="91" name="Прямоугольник 10"/>
          <p:cNvSpPr/>
          <p:nvPr/>
        </p:nvSpPr>
        <p:spPr>
          <a:xfrm>
            <a:off x="686652" y="1646437"/>
            <a:ext cx="525564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0 тис. грн.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творити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робоче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ісце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ід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0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500 тис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грн.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творити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робочих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ісця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ід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00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до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млн. грн.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ворити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 робочих місця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2 з яких займуть ветерани або особи з інвалідністю внаслідок війни)</a:t>
            </a:r>
          </a:p>
        </p:txBody>
      </p:sp>
      <p:sp>
        <p:nvSpPr>
          <p:cNvPr id="92" name="Прямоугольник 12"/>
          <p:cNvSpPr/>
          <p:nvPr/>
        </p:nvSpPr>
        <p:spPr>
          <a:xfrm>
            <a:off x="680653" y="3215156"/>
            <a:ext cx="5416012" cy="27007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ля покриття таких витрат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як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дбання меблів, обладнання, транспортних засобів (які будуть використовуватись в комерційних та виробничих цілях),  необхідних </a:t>
            </a:r>
            <a:r>
              <a:rPr kumimoji="0" lang="uk-U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ля провадження господарської діяльності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купівля </a:t>
            </a:r>
            <a:r>
              <a:rPr kumimoji="0" lang="uk-U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іцензійного програмного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безпечення </a:t>
            </a:r>
            <a:r>
              <a:rPr kumimoji="0" lang="uk-U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якщо такі витрати становлять </a:t>
            </a:r>
            <a:r>
              <a:rPr kumimoji="0" lang="uk-UA" sz="1050" b="0" i="0" u="sng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більше </a:t>
            </a:r>
            <a:r>
              <a:rPr kumimoji="0" lang="uk-UA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0 </a:t>
            </a:r>
            <a:r>
              <a:rPr kumimoji="0" lang="en-US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  <a:r>
              <a:rPr kumimoji="0" lang="uk-UA" sz="1050" b="0" i="0" u="sng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зміру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анту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купівля свійських тварин, птиці та бджіл, молодняка тварин та птиці, саджанців, посівного матеріалу, сировини, матеріалів, товарів та послуг, пов'язаних з реалізацією бізнес-плану (сумарно </a:t>
            </a:r>
            <a:r>
              <a:rPr kumimoji="0" lang="uk-UA" sz="1050" b="0" i="0" u="sng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більше </a:t>
            </a:r>
            <a:r>
              <a:rPr kumimoji="0" lang="uk-UA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0 %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зміру гранту)</a:t>
            </a: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слуги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аркетингу та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клами (</a:t>
            </a:r>
            <a:r>
              <a:rPr kumimoji="0" lang="ru-RU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</a:t>
            </a:r>
            <a:r>
              <a:rPr kumimoji="0" lang="uk-UA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ільше</a:t>
            </a:r>
            <a:r>
              <a:rPr kumimoji="0" lang="ru-RU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US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0 </a:t>
            </a:r>
            <a:r>
              <a:rPr kumimoji="0" lang="en-US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  <a:r>
              <a:rPr kumimoji="0" lang="ru-RU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зміру гранту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uk-UA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ендна плата за нежитлове приміщення (</a:t>
            </a:r>
            <a:r>
              <a:rPr kumimoji="0" lang="uk-UA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більше 25 %</a:t>
            </a:r>
            <a:r>
              <a:rPr kumimoji="0" lang="uk-UA" sz="1050" b="0" i="0" u="sng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зміру гранту)</a:t>
            </a: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ендна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лата за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ладнання (</a:t>
            </a:r>
            <a:r>
              <a:rPr kumimoji="0" lang="ru-RU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</a:t>
            </a:r>
            <a:r>
              <a:rPr kumimoji="0" lang="uk-UA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ільше</a:t>
            </a:r>
            <a:r>
              <a:rPr kumimoji="0" lang="ru-RU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050" b="0" i="0" u="sng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ru-RU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 </a:t>
            </a:r>
            <a:r>
              <a:rPr kumimoji="0" lang="en-US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зміру гранту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;</a:t>
            </a:r>
            <a:endParaRPr kumimoji="0" lang="uk-UA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лізинг обладнання, крім </a:t>
            </a:r>
            <a:r>
              <a:rPr kumimoji="0" lang="uk-UA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втомобілів, мотоциклів та інших  транспортних засобів особистого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ристування (</a:t>
            </a:r>
            <a:r>
              <a:rPr kumimoji="0" lang="uk-UA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 </a:t>
            </a:r>
            <a:r>
              <a:rPr kumimoji="0" lang="uk-UA" sz="1050" b="0" i="0" u="sng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ільше 50 %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зміру гранту)</a:t>
            </a: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икористання у підприємницькій діяльності прав інших суб’єктів господарювання (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ерційна концесія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uk-UA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93" name="Рисунок 9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998" y="1755832"/>
            <a:ext cx="432000" cy="432000"/>
          </a:xfrm>
          <a:prstGeom prst="rect">
            <a:avLst/>
          </a:prstGeom>
        </p:spPr>
      </p:pic>
      <p:sp>
        <p:nvSpPr>
          <p:cNvPr id="102" name="Прямоугольник 51"/>
          <p:cNvSpPr/>
          <p:nvPr/>
        </p:nvSpPr>
        <p:spPr>
          <a:xfrm>
            <a:off x="10092072" y="4940438"/>
            <a:ext cx="195063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ржава перераховує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змір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анту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Прямоугольник 52"/>
          <p:cNvSpPr/>
          <p:nvPr/>
        </p:nvSpPr>
        <p:spPr>
          <a:xfrm>
            <a:off x="6516446" y="4841422"/>
            <a:ext cx="3439770" cy="19628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римувач 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ідкриває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хунок в банку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на протязі 20 робочих днів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 дня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римання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зитивного </a:t>
            </a:r>
            <a:r>
              <a:rPr kumimoji="0" lang="uk-UA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ішення)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. 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римувач здійснює переказ не менше 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% суми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на власний рахунок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тягом 30 календарних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нів для грантів на суму 500 тис.грн. та 1 млн.грн.</a:t>
            </a: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srgbClr val="D4CD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Оплата 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итрат, пов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’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язаних з реалізацією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екту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водиться уповноваженим банком на підставі рахунків-фактур та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говору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9" name="Рисунок 10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7788" y="4467629"/>
            <a:ext cx="652929" cy="326464"/>
          </a:xfrm>
          <a:prstGeom prst="rect">
            <a:avLst/>
          </a:prstGeom>
        </p:spPr>
      </p:pic>
      <p:pic>
        <p:nvPicPr>
          <p:cNvPr id="113" name="Рисунок 1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8463" y="4412613"/>
            <a:ext cx="430138" cy="432000"/>
          </a:xfrm>
          <a:prstGeom prst="rect">
            <a:avLst/>
          </a:prstGeom>
        </p:spPr>
      </p:pic>
      <p:cxnSp>
        <p:nvCxnSpPr>
          <p:cNvPr id="114" name="Прямая со стрелкой 63"/>
          <p:cNvCxnSpPr/>
          <p:nvPr/>
        </p:nvCxnSpPr>
        <p:spPr>
          <a:xfrm flipH="1">
            <a:off x="7295833" y="4572970"/>
            <a:ext cx="1248199" cy="193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 стрелкой 64"/>
          <p:cNvCxnSpPr/>
          <p:nvPr/>
        </p:nvCxnSpPr>
        <p:spPr>
          <a:xfrm flipV="1">
            <a:off x="7323462" y="4709931"/>
            <a:ext cx="1248199" cy="193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 стрелкой 65"/>
          <p:cNvCxnSpPr/>
          <p:nvPr/>
        </p:nvCxnSpPr>
        <p:spPr>
          <a:xfrm flipH="1">
            <a:off x="9467972" y="4651763"/>
            <a:ext cx="1248199" cy="193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8" name="Рисунок 117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6720" y="4412613"/>
            <a:ext cx="252000" cy="252000"/>
          </a:xfrm>
          <a:prstGeom prst="rect">
            <a:avLst/>
          </a:prstGeom>
        </p:spPr>
      </p:pic>
      <p:cxnSp>
        <p:nvCxnSpPr>
          <p:cNvPr id="124" name="Прямая соединительная линия 89"/>
          <p:cNvCxnSpPr/>
          <p:nvPr/>
        </p:nvCxnSpPr>
        <p:spPr>
          <a:xfrm>
            <a:off x="6107596" y="1424522"/>
            <a:ext cx="0" cy="5211430"/>
          </a:xfrm>
          <a:prstGeom prst="line">
            <a:avLst/>
          </a:prstGeom>
          <a:ln w="19050">
            <a:solidFill>
              <a:srgbClr val="D4CD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90"/>
          <p:cNvCxnSpPr/>
          <p:nvPr/>
        </p:nvCxnSpPr>
        <p:spPr>
          <a:xfrm flipV="1">
            <a:off x="6384644" y="4310152"/>
            <a:ext cx="5658060" cy="13771"/>
          </a:xfrm>
          <a:prstGeom prst="line">
            <a:avLst/>
          </a:prstGeom>
          <a:ln w="19050">
            <a:solidFill>
              <a:srgbClr val="D4CD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Скругленный прямоугольник 66"/>
          <p:cNvSpPr/>
          <p:nvPr/>
        </p:nvSpPr>
        <p:spPr>
          <a:xfrm>
            <a:off x="8413877" y="812970"/>
            <a:ext cx="1756283" cy="31959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C51B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Процес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C51B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28" name="Скругленный прямоугольник 67"/>
          <p:cNvSpPr/>
          <p:nvPr/>
        </p:nvSpPr>
        <p:spPr>
          <a:xfrm>
            <a:off x="2247715" y="809084"/>
            <a:ext cx="1785805" cy="31959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Умов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50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33" name="Прямоугольник 47"/>
          <p:cNvSpPr/>
          <p:nvPr/>
        </p:nvSpPr>
        <p:spPr>
          <a:xfrm>
            <a:off x="223998" y="6112279"/>
            <a:ext cx="588359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рок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икористання гранту не повинен перевищувати 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6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місяців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 часу отримання коштів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ворити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ові робочі місця</a:t>
            </a:r>
            <a:r>
              <a:rPr kumimoji="0" lang="en-US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лежно від суми гранту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плачувати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 бюджету податки та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бори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Скругленный прямоугольник 59"/>
          <p:cNvSpPr/>
          <p:nvPr/>
        </p:nvSpPr>
        <p:spPr>
          <a:xfrm>
            <a:off x="2398549" y="5779982"/>
            <a:ext cx="1825850" cy="31959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Вимог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pic>
        <p:nvPicPr>
          <p:cNvPr id="67" name="Рисунок 66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1331" y="1392619"/>
            <a:ext cx="430138" cy="432000"/>
          </a:xfrm>
          <a:prstGeom prst="rect">
            <a:avLst/>
          </a:prstGeom>
        </p:spPr>
      </p:pic>
      <p:pic>
        <p:nvPicPr>
          <p:cNvPr id="68" name="Рисунок 6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299" y="1396689"/>
            <a:ext cx="430138" cy="432000"/>
          </a:xfrm>
          <a:prstGeom prst="rect">
            <a:avLst/>
          </a:prstGeom>
        </p:spPr>
      </p:pic>
      <p:pic>
        <p:nvPicPr>
          <p:cNvPr id="69" name="Рисунок 6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009" y="1424522"/>
            <a:ext cx="375164" cy="375164"/>
          </a:xfrm>
          <a:prstGeom prst="rect">
            <a:avLst/>
          </a:prstGeom>
        </p:spPr>
      </p:pic>
      <p:sp>
        <p:nvSpPr>
          <p:cNvPr id="72" name="Прямоугольник 48"/>
          <p:cNvSpPr/>
          <p:nvPr/>
        </p:nvSpPr>
        <p:spPr>
          <a:xfrm>
            <a:off x="10334423" y="1835516"/>
            <a:ext cx="1758341" cy="5524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евірка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и </a:t>
            </a:r>
            <a:b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нком </a:t>
            </a: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 5 </a:t>
            </a:r>
            <a:r>
              <a:rPr kumimoji="0" lang="uk-UA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іб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D4CD00"/>
              </a:solidFill>
              <a:effectLst/>
              <a:uLnTx/>
              <a:uFillTx/>
              <a:latin typeface="Arial Black" panose="020B0A040201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3" name="Прямоугольник 49"/>
          <p:cNvSpPr/>
          <p:nvPr/>
        </p:nvSpPr>
        <p:spPr>
          <a:xfrm>
            <a:off x="6717137" y="3462677"/>
            <a:ext cx="252868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ЦЗ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відомляє про рішення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римувача</a:t>
            </a: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ЦЗ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відомляє про рішення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економіки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нк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6" name="Прямоугольник 50"/>
          <p:cNvSpPr/>
          <p:nvPr/>
        </p:nvSpPr>
        <p:spPr>
          <a:xfrm>
            <a:off x="9554565" y="3437213"/>
            <a:ext cx="255226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півбесіда з РЦЗ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ЦЗ приймає рішення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 надання гранту </a:t>
            </a:r>
            <a:r>
              <a:rPr kumimoji="0" lang="uk-UA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тягом 15 робочих днів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D4CD00"/>
              </a:solidFill>
              <a:effectLst/>
              <a:uLnTx/>
              <a:uFillTx/>
              <a:latin typeface="Arial Black" panose="020B0A040201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7" name="Рисунок 8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494" y="1898704"/>
            <a:ext cx="652929" cy="326464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1852" y="3080874"/>
            <a:ext cx="652929" cy="326464"/>
          </a:xfrm>
          <a:prstGeom prst="rect">
            <a:avLst/>
          </a:prstGeom>
        </p:spPr>
      </p:pic>
      <p:cxnSp>
        <p:nvCxnSpPr>
          <p:cNvPr id="98" name="Соединительная линия уступом 59"/>
          <p:cNvCxnSpPr>
            <a:stCxn id="67" idx="3"/>
            <a:endCxn id="87" idx="0"/>
          </p:cNvCxnSpPr>
          <p:nvPr/>
        </p:nvCxnSpPr>
        <p:spPr>
          <a:xfrm>
            <a:off x="8211469" y="1608619"/>
            <a:ext cx="1796490" cy="290085"/>
          </a:xfrm>
          <a:prstGeom prst="bentConnector2">
            <a:avLst/>
          </a:prstGeom>
          <a:ln w="1905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 стрелкой 60"/>
          <p:cNvCxnSpPr>
            <a:stCxn id="87" idx="2"/>
          </p:cNvCxnSpPr>
          <p:nvPr/>
        </p:nvCxnSpPr>
        <p:spPr>
          <a:xfrm flipH="1">
            <a:off x="10007958" y="2225168"/>
            <a:ext cx="1" cy="816952"/>
          </a:xfrm>
          <a:prstGeom prst="straightConnector1">
            <a:avLst/>
          </a:prstGeom>
          <a:ln w="1905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 стрелкой 61"/>
          <p:cNvCxnSpPr>
            <a:stCxn id="60" idx="1"/>
            <a:endCxn id="89" idx="3"/>
          </p:cNvCxnSpPr>
          <p:nvPr/>
        </p:nvCxnSpPr>
        <p:spPr>
          <a:xfrm flipH="1" flipV="1">
            <a:off x="8434781" y="3244106"/>
            <a:ext cx="1319268" cy="11954"/>
          </a:xfrm>
          <a:prstGeom prst="straightConnector1">
            <a:avLst/>
          </a:prstGeom>
          <a:ln w="1905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7" name="Рисунок 136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6578" y="1411390"/>
            <a:ext cx="252000" cy="252000"/>
          </a:xfrm>
          <a:prstGeom prst="rect">
            <a:avLst/>
          </a:prstGeom>
        </p:spPr>
      </p:pic>
      <p:pic>
        <p:nvPicPr>
          <p:cNvPr id="138" name="Рисунок 137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0018" y="3012265"/>
            <a:ext cx="425349" cy="425349"/>
          </a:xfrm>
          <a:prstGeom prst="rect">
            <a:avLst/>
          </a:prstGeom>
        </p:spPr>
      </p:pic>
      <p:pic>
        <p:nvPicPr>
          <p:cNvPr id="139" name="Рисунок 13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5753" y="3005213"/>
            <a:ext cx="430138" cy="432000"/>
          </a:xfrm>
          <a:prstGeom prst="rect">
            <a:avLst/>
          </a:prstGeom>
        </p:spPr>
      </p:pic>
      <p:sp>
        <p:nvSpPr>
          <p:cNvPr id="62" name="Прямоугольник 4"/>
          <p:cNvSpPr/>
          <p:nvPr/>
        </p:nvSpPr>
        <p:spPr>
          <a:xfrm>
            <a:off x="686652" y="1139766"/>
            <a:ext cx="17907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ізичні особи</a:t>
            </a:r>
            <a:endParaRPr kumimoji="0" lang="uk-UA" sz="12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бо ФОП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0" name="Прямоугольник 41"/>
          <p:cNvSpPr/>
          <p:nvPr/>
        </p:nvSpPr>
        <p:spPr>
          <a:xfrm>
            <a:off x="6720550" y="1916666"/>
            <a:ext cx="14118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собисто через  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b-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ртал Дія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Прямоугольник 15"/>
          <p:cNvSpPr/>
          <p:nvPr/>
        </p:nvSpPr>
        <p:spPr>
          <a:xfrm>
            <a:off x="6768723" y="2373166"/>
            <a:ext cx="3155263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-1800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а</a:t>
            </a:r>
          </a:p>
          <a:p>
            <a:pPr marL="0" marR="0" lvl="0" indent="-1800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знес-план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96310" y="124596"/>
            <a:ext cx="606173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3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«єРобота</a:t>
            </a:r>
            <a:r>
              <a:rPr kumimoji="0" lang="uk-UA" sz="3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: </a:t>
            </a:r>
            <a:r>
              <a:rPr kumimoji="0" lang="uk-UA" sz="3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ВЕТЕРАН»</a:t>
            </a: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9458" y="0"/>
            <a:ext cx="741430" cy="727025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4049" y="3001472"/>
            <a:ext cx="513965" cy="509176"/>
          </a:xfrm>
          <a:prstGeom prst="rect">
            <a:avLst/>
          </a:prstGeom>
        </p:spPr>
      </p:pic>
      <p:pic>
        <p:nvPicPr>
          <p:cNvPr id="66" name="Рисунок 65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5177" y="1183646"/>
            <a:ext cx="432000" cy="432000"/>
          </a:xfrm>
          <a:prstGeom prst="rect">
            <a:avLst/>
          </a:prstGeom>
        </p:spPr>
      </p:pic>
      <p:sp>
        <p:nvSpPr>
          <p:cNvPr id="70" name="Прямоугольник 6"/>
          <p:cNvSpPr/>
          <p:nvPr/>
        </p:nvSpPr>
        <p:spPr>
          <a:xfrm>
            <a:off x="3159693" y="1232598"/>
            <a:ext cx="219217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ворення робочих місць</a:t>
            </a:r>
            <a:endParaRPr kumimoji="0" lang="uk-UA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1" name="Рисунок 70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200480" y="3316490"/>
            <a:ext cx="432000" cy="432000"/>
          </a:xfrm>
          <a:prstGeom prst="rect">
            <a:avLst/>
          </a:prstGeom>
        </p:spPr>
      </p:pic>
      <p:sp>
        <p:nvSpPr>
          <p:cNvPr id="75" name="Прямоугольник 56"/>
          <p:cNvSpPr/>
          <p:nvPr/>
        </p:nvSpPr>
        <p:spPr>
          <a:xfrm>
            <a:off x="9390717" y="6518458"/>
            <a:ext cx="270204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рант 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дається у безготівковому вигляді</a:t>
            </a:r>
            <a:endParaRPr kumimoji="0" lang="uk-UA" sz="10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342" y="2485493"/>
            <a:ext cx="430138" cy="432000"/>
          </a:xfrm>
          <a:prstGeom prst="rect">
            <a:avLst/>
          </a:prstGeom>
        </p:spPr>
      </p:pic>
      <p:sp>
        <p:nvSpPr>
          <p:cNvPr id="49" name="Прямоугольник 48"/>
          <p:cNvSpPr/>
          <p:nvPr/>
        </p:nvSpPr>
        <p:spPr>
          <a:xfrm>
            <a:off x="680653" y="2425063"/>
            <a:ext cx="526164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нти у розмірі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00 тис. грн.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 млн. грн.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идаються на умовах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івфінансування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% частка власних коштів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0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% держава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51" name="Рисунок 50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9810" y="124596"/>
            <a:ext cx="1049986" cy="553998"/>
          </a:xfrm>
          <a:prstGeom prst="rect">
            <a:avLst/>
          </a:pr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C13F1655-8EED-725C-47C4-44371E617CCF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9683559" y="70504"/>
            <a:ext cx="1286251" cy="625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167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Прямоугольник 1"/>
          <p:cNvSpPr/>
          <p:nvPr/>
        </p:nvSpPr>
        <p:spPr>
          <a:xfrm>
            <a:off x="0" y="-135182"/>
            <a:ext cx="12192000" cy="886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0" y="155565"/>
            <a:ext cx="672788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3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«єРобота</a:t>
            </a:r>
            <a:r>
              <a:rPr kumimoji="0" lang="uk-UA" sz="3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: СВІЙ САД</a:t>
            </a:r>
            <a:r>
              <a:rPr kumimoji="0" lang="uk-UA" sz="3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»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3837" y="1980415"/>
            <a:ext cx="652929" cy="326464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6551075" y="5148476"/>
            <a:ext cx="390645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римувач відкриває рахунок 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нку</a:t>
            </a:r>
          </a:p>
          <a:p>
            <a:pPr marL="216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протязі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обочих днів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 дня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римання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позитивного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ішення)</a:t>
            </a:r>
            <a:endParaRPr kumimoji="0" lang="uk-UA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римувач здійснює переказ не менше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 суми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власний рахунок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тягом 30 календарних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нів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лата витрат, пов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’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язаних з реалізацією проекту,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водиться уповноваженим банком на підставі рахунків-фактур та договору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6767304" y="2399215"/>
            <a:ext cx="3155263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-1800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а</a:t>
            </a:r>
          </a:p>
          <a:p>
            <a:pPr marL="0" marR="0" lvl="0" indent="-1800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ект висаджування насаджень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036" b="44631"/>
          <a:stretch/>
        </p:blipFill>
        <p:spPr>
          <a:xfrm>
            <a:off x="9568501" y="3345368"/>
            <a:ext cx="1779762" cy="414701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6457" y="1512990"/>
            <a:ext cx="430138" cy="432000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3425" y="1517060"/>
            <a:ext cx="430138" cy="432000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0135" y="1544893"/>
            <a:ext cx="375164" cy="375164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99760" y="3235017"/>
            <a:ext cx="495902" cy="495902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7304" y="3308752"/>
            <a:ext cx="430138" cy="432000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9469" y="3391084"/>
            <a:ext cx="652929" cy="326464"/>
          </a:xfrm>
          <a:prstGeom prst="rect">
            <a:avLst/>
          </a:prstGeom>
        </p:spPr>
      </p:pic>
      <p:cxnSp>
        <p:nvCxnSpPr>
          <p:cNvPr id="24" name="Соединительная линия уступом 23"/>
          <p:cNvCxnSpPr>
            <a:stCxn id="18" idx="3"/>
            <a:endCxn id="13" idx="0"/>
          </p:cNvCxnSpPr>
          <p:nvPr/>
        </p:nvCxnSpPr>
        <p:spPr>
          <a:xfrm>
            <a:off x="8196595" y="1728990"/>
            <a:ext cx="1793707" cy="251425"/>
          </a:xfrm>
          <a:prstGeom prst="bentConnector2">
            <a:avLst/>
          </a:prstGeom>
          <a:ln w="1905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 flipH="1">
            <a:off x="9993085" y="2345539"/>
            <a:ext cx="1" cy="999829"/>
          </a:xfrm>
          <a:prstGeom prst="straightConnector1">
            <a:avLst/>
          </a:prstGeom>
          <a:ln w="1905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>
            <a:stCxn id="17" idx="1"/>
            <a:endCxn id="23" idx="3"/>
          </p:cNvCxnSpPr>
          <p:nvPr/>
        </p:nvCxnSpPr>
        <p:spPr>
          <a:xfrm flipH="1">
            <a:off x="8462398" y="3552719"/>
            <a:ext cx="1106103" cy="1597"/>
          </a:xfrm>
          <a:prstGeom prst="straightConnector1">
            <a:avLst/>
          </a:prstGeom>
          <a:ln w="1905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376785" y="1569316"/>
            <a:ext cx="0" cy="5211430"/>
          </a:xfrm>
          <a:prstGeom prst="line">
            <a:avLst/>
          </a:prstGeom>
          <a:ln w="19050">
            <a:solidFill>
              <a:srgbClr val="D4CD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6497723" y="4481551"/>
            <a:ext cx="5580810" cy="0"/>
          </a:xfrm>
          <a:prstGeom prst="line">
            <a:avLst/>
          </a:prstGeom>
          <a:ln w="19050">
            <a:solidFill>
              <a:srgbClr val="D4CD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Рисунок 28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7303" y="1563076"/>
            <a:ext cx="252000" cy="252000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5190" y="4625702"/>
            <a:ext cx="252000" cy="252000"/>
          </a:xfrm>
          <a:prstGeom prst="rect">
            <a:avLst/>
          </a:prstGeom>
        </p:spPr>
      </p:pic>
      <p:sp>
        <p:nvSpPr>
          <p:cNvPr id="31" name="Прямоугольник 30"/>
          <p:cNvSpPr/>
          <p:nvPr/>
        </p:nvSpPr>
        <p:spPr>
          <a:xfrm>
            <a:off x="10319549" y="1759348"/>
            <a:ext cx="1853789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евірка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и </a:t>
            </a:r>
            <a:b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нком </a:t>
            </a: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 5 </a:t>
            </a:r>
            <a:r>
              <a:rPr kumimoji="0" lang="uk-UA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іб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D4CD00"/>
              </a:solidFill>
              <a:effectLst/>
              <a:uLnTx/>
              <a:uFillTx/>
              <a:latin typeface="Arial Black" panose="020B0A040201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6773425" y="3794625"/>
            <a:ext cx="25286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агрополітики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повідомляє про рішення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нк,</a:t>
            </a: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економіки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римувача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9445408" y="3827415"/>
            <a:ext cx="216265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ішення про надання гранту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 </a:t>
            </a: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 діб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D4CD00"/>
              </a:solidFill>
              <a:effectLst/>
              <a:uLnTx/>
              <a:uFillTx/>
              <a:latin typeface="Arial Black" panose="020B0A040201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34276" y="4596705"/>
            <a:ext cx="432000" cy="432000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8210" y="4651408"/>
            <a:ext cx="652929" cy="326464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5966" y="4601612"/>
            <a:ext cx="430138" cy="432000"/>
          </a:xfrm>
          <a:prstGeom prst="rect">
            <a:avLst/>
          </a:prstGeom>
        </p:spPr>
      </p:pic>
      <p:cxnSp>
        <p:nvCxnSpPr>
          <p:cNvPr id="38" name="Прямая со стрелкой 37"/>
          <p:cNvCxnSpPr/>
          <p:nvPr/>
        </p:nvCxnSpPr>
        <p:spPr>
          <a:xfrm flipH="1">
            <a:off x="7379309" y="4741728"/>
            <a:ext cx="1248199" cy="193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 flipV="1">
            <a:off x="7385358" y="4905069"/>
            <a:ext cx="1248199" cy="193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 flipH="1">
            <a:off x="9578608" y="4817612"/>
            <a:ext cx="1248199" cy="193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Прямоугольник 40"/>
          <p:cNvSpPr/>
          <p:nvPr/>
        </p:nvSpPr>
        <p:spPr>
          <a:xfrm>
            <a:off x="10238121" y="5143858"/>
            <a:ext cx="19210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ржава перераховує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0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 суми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зміру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анту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6776534" y="1916666"/>
            <a:ext cx="14118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собисто через  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b-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ртал Дія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686" y="2104296"/>
            <a:ext cx="432000" cy="432000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3204154" y="3416027"/>
            <a:ext cx="31588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0% частка власних коштів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0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% держава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3564693" y="2025721"/>
            <a:ext cx="575799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ід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 </a:t>
            </a:r>
            <a:r>
              <a:rPr kumimoji="0" lang="uk-UA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722117" y="1532808"/>
            <a:ext cx="1682328" cy="4694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ю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идичні особи</a:t>
            </a:r>
          </a:p>
          <a:p>
            <a:pPr marL="0" marR="0" lvl="0" indent="0" algn="l" defTabSz="914400" rtl="0" eaLnBrk="1" fontAlgn="auto" latinLnBrk="0" hangingPunct="1">
              <a:lnSpc>
                <a:spcPct val="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бо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ФОП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4152336" y="4644244"/>
            <a:ext cx="233285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рок 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еалізації проекту висадки не повинен перевищувати </a:t>
            </a:r>
            <a:r>
              <a:rPr kumimoji="0" lang="uk-UA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8 місяців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 часу отримання коштів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ворити </a:t>
            </a:r>
            <a:r>
              <a:rPr kumimoji="0" lang="uk-UA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ові робочі 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сця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вадити </a:t>
            </a:r>
            <a:r>
              <a:rPr kumimoji="0" lang="uk-UA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ідприємницьку діяльність після закінчення проекту висадки насаджень протягом не менше </a:t>
            </a:r>
            <a:r>
              <a:rPr kumimoji="0" lang="uk-UA" sz="10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 </a:t>
            </a:r>
            <a:r>
              <a:rPr kumimoji="0" lang="uk-UA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оків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безпечити новий сад, ягідник чи виноградник системою зрошення з водозабором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плачувати до </a:t>
            </a:r>
            <a:r>
              <a:rPr kumimoji="0" lang="uk-UA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юджету 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датки </a:t>
            </a:r>
            <a:r>
              <a:rPr kumimoji="0" lang="uk-UA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 збори протягом не менше </a:t>
            </a:r>
            <a:r>
              <a:rPr kumimoji="0" lang="uk-UA" sz="10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 років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4152336" y="2188492"/>
            <a:ext cx="140135" cy="180000"/>
          </a:xfrm>
          <a:prstGeom prst="rect">
            <a:avLst/>
          </a:prstGeom>
        </p:spPr>
      </p:pic>
      <p:sp>
        <p:nvSpPr>
          <p:cNvPr id="50" name="Прямоугольник 49"/>
          <p:cNvSpPr/>
          <p:nvPr/>
        </p:nvSpPr>
        <p:spPr>
          <a:xfrm>
            <a:off x="4322771" y="2024789"/>
            <a:ext cx="696024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5 га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pic>
        <p:nvPicPr>
          <p:cNvPr id="51" name="Рисунок 5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084" y="1569316"/>
            <a:ext cx="430138" cy="432000"/>
          </a:xfrm>
          <a:prstGeom prst="rect">
            <a:avLst/>
          </a:prstGeom>
        </p:spPr>
      </p:pic>
      <p:sp>
        <p:nvSpPr>
          <p:cNvPr id="52" name="Скругленный прямоугольник 51"/>
          <p:cNvSpPr/>
          <p:nvPr/>
        </p:nvSpPr>
        <p:spPr>
          <a:xfrm>
            <a:off x="297069" y="2929637"/>
            <a:ext cx="5588603" cy="375874"/>
          </a:xfrm>
          <a:prstGeom prst="roundRect">
            <a:avLst>
              <a:gd name="adj" fmla="val 25035"/>
            </a:avLst>
          </a:prstGeom>
          <a:solidFill>
            <a:srgbClr val="D4CD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577505" y="2942473"/>
            <a:ext cx="545455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Співфінансування держави та фермера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56" name="Диаграмма 55"/>
          <p:cNvGraphicFramePr/>
          <p:nvPr>
            <p:extLst>
              <p:ext uri="{D42A27DB-BD31-4B8C-83A1-F6EECF244321}">
                <p14:modId xmlns:p14="http://schemas.microsoft.com/office/powerpoint/2010/main" val="3264841781"/>
              </p:ext>
            </p:extLst>
          </p:nvPr>
        </p:nvGraphicFramePr>
        <p:xfrm>
          <a:off x="50915" y="3711296"/>
          <a:ext cx="4441186" cy="31636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57" name="Прямоугольник 56"/>
          <p:cNvSpPr/>
          <p:nvPr/>
        </p:nvSpPr>
        <p:spPr>
          <a:xfrm>
            <a:off x="56754" y="3831714"/>
            <a:ext cx="518615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Граничні суми співфінансування на гектар, тис. грн.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8594444" y="1061225"/>
            <a:ext cx="1825850" cy="31959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C51B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Процес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2C51B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2080220" y="1058498"/>
            <a:ext cx="1825850" cy="31959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Умов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50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64" name="Прямоугольник 45"/>
          <p:cNvSpPr/>
          <p:nvPr/>
        </p:nvSpPr>
        <p:spPr>
          <a:xfrm>
            <a:off x="728043" y="2075964"/>
            <a:ext cx="273734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ля висадки та облаштування нового саду, ягіднику, винограднику</a:t>
            </a:r>
            <a:endParaRPr kumimoji="0" lang="uk-UA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pic>
        <p:nvPicPr>
          <p:cNvPr id="66" name="Рисунок 65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7145" y="1548039"/>
            <a:ext cx="432000" cy="432000"/>
          </a:xfrm>
          <a:prstGeom prst="rect">
            <a:avLst/>
          </a:prstGeom>
        </p:spPr>
      </p:pic>
      <p:sp>
        <p:nvSpPr>
          <p:cNvPr id="67" name="Прямоугольник 6"/>
          <p:cNvSpPr/>
          <p:nvPr/>
        </p:nvSpPr>
        <p:spPr>
          <a:xfrm>
            <a:off x="3243948" y="1516464"/>
            <a:ext cx="313283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ворення робочих місць постійно працюючих та сезонних працівників</a:t>
            </a:r>
            <a:endParaRPr kumimoji="0" lang="uk-UA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8" name="Прямоугольник 44"/>
          <p:cNvSpPr/>
          <p:nvPr/>
        </p:nvSpPr>
        <p:spPr>
          <a:xfrm>
            <a:off x="728043" y="3474029"/>
            <a:ext cx="2053655" cy="340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 більше </a:t>
            </a:r>
            <a:r>
              <a:rPr kumimoji="0" lang="uk-UA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лн. грн.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69" name="Рисунок 68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202" y="3451210"/>
            <a:ext cx="432000" cy="432000"/>
          </a:xfrm>
          <a:prstGeom prst="rect">
            <a:avLst/>
          </a:prstGeom>
        </p:spPr>
      </p:pic>
      <p:pic>
        <p:nvPicPr>
          <p:cNvPr id="70" name="Рисунок 69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252686" y="3431406"/>
            <a:ext cx="432000" cy="432000"/>
          </a:xfrm>
          <a:prstGeom prst="rect">
            <a:avLst/>
          </a:prstGeom>
        </p:spPr>
      </p:pic>
      <p:sp>
        <p:nvSpPr>
          <p:cNvPr id="71" name="Скругленный прямоугольник 59"/>
          <p:cNvSpPr/>
          <p:nvPr/>
        </p:nvSpPr>
        <p:spPr>
          <a:xfrm>
            <a:off x="4344884" y="4229131"/>
            <a:ext cx="1825850" cy="31959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Вимог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72" name="Прямоугольник 56"/>
          <p:cNvSpPr/>
          <p:nvPr/>
        </p:nvSpPr>
        <p:spPr>
          <a:xfrm>
            <a:off x="0" y="2538950"/>
            <a:ext cx="630626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право власності та/або користування землею не менше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 років</a:t>
            </a:r>
            <a:endParaRPr kumimoji="0" lang="uk-UA" sz="12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098887" y="66173"/>
            <a:ext cx="1166177" cy="642133"/>
          </a:xfrm>
          <a:prstGeom prst="rect">
            <a:avLst/>
          </a:prstGeom>
        </p:spPr>
      </p:pic>
      <p:pic>
        <p:nvPicPr>
          <p:cNvPr id="73" name="Рисунок 72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8859" y="15907"/>
            <a:ext cx="860902" cy="693656"/>
          </a:xfrm>
          <a:prstGeom prst="rect">
            <a:avLst/>
          </a:prstGeom>
        </p:spPr>
      </p:pic>
      <p:pic>
        <p:nvPicPr>
          <p:cNvPr id="74" name="Рисунок 7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4442" y="55255"/>
            <a:ext cx="725119" cy="642133"/>
          </a:xfrm>
          <a:prstGeom prst="rect">
            <a:avLst/>
          </a:prstGeom>
        </p:spPr>
      </p:pic>
      <p:sp>
        <p:nvSpPr>
          <p:cNvPr id="62" name="Прямоугольник 56"/>
          <p:cNvSpPr/>
          <p:nvPr/>
        </p:nvSpPr>
        <p:spPr>
          <a:xfrm>
            <a:off x="9390717" y="6518458"/>
            <a:ext cx="270204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рант 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дається у безготівковому вигляді</a:t>
            </a:r>
            <a:endParaRPr kumimoji="0" lang="uk-UA" sz="10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26443" y="85736"/>
            <a:ext cx="974051" cy="553998"/>
          </a:xfrm>
          <a:prstGeom prst="rect">
            <a:avLst/>
          </a:prstGeom>
        </p:spPr>
      </p:pic>
      <p:pic>
        <p:nvPicPr>
          <p:cNvPr id="63" name="Рисунок 62">
            <a:extLst>
              <a:ext uri="{FF2B5EF4-FFF2-40B4-BE49-F238E27FC236}">
                <a16:creationId xmlns:a16="http://schemas.microsoft.com/office/drawing/2014/main" id="{C13F1655-8EED-725C-47C4-44371E617CC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864771" y="47453"/>
            <a:ext cx="1261672" cy="625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122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Прямоугольник 1"/>
          <p:cNvSpPr/>
          <p:nvPr/>
        </p:nvSpPr>
        <p:spPr>
          <a:xfrm>
            <a:off x="0" y="-72339"/>
            <a:ext cx="12192000" cy="886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60344" y="59429"/>
            <a:ext cx="1212184" cy="672526"/>
          </a:xfrm>
          <a:prstGeom prst="rect">
            <a:avLst/>
          </a:prstGeom>
        </p:spPr>
      </p:pic>
      <p:pic>
        <p:nvPicPr>
          <p:cNvPr id="73" name="Рисунок 7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2736" y="72476"/>
            <a:ext cx="813804" cy="640004"/>
          </a:xfrm>
          <a:prstGeom prst="rect">
            <a:avLst/>
          </a:prstGeom>
        </p:spPr>
      </p:pic>
      <p:pic>
        <p:nvPicPr>
          <p:cNvPr id="74" name="Рисунок 7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6540" y="98574"/>
            <a:ext cx="668914" cy="652555"/>
          </a:xfrm>
          <a:prstGeom prst="rect">
            <a:avLst/>
          </a:prstGeom>
        </p:spPr>
      </p:pic>
      <p:sp>
        <p:nvSpPr>
          <p:cNvPr id="61" name="Прямоугольник 21"/>
          <p:cNvSpPr/>
          <p:nvPr/>
        </p:nvSpPr>
        <p:spPr>
          <a:xfrm>
            <a:off x="-12867" y="147853"/>
            <a:ext cx="6192721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3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«єРобота</a:t>
            </a:r>
            <a:r>
              <a:rPr kumimoji="0" lang="uk-UA" sz="3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: СВОЯ ТЕПЛИЦЯ»</a:t>
            </a:r>
            <a:endParaRPr kumimoji="0" lang="ru-RU" sz="3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itchFamily="34" charset="0"/>
              <a:ea typeface="+mn-ea"/>
              <a:cs typeface="+mn-cs"/>
            </a:endParaRPr>
          </a:p>
        </p:txBody>
      </p:sp>
      <p:sp>
        <p:nvSpPr>
          <p:cNvPr id="63" name="Скругленный прямоугольник 70"/>
          <p:cNvSpPr/>
          <p:nvPr/>
        </p:nvSpPr>
        <p:spPr>
          <a:xfrm>
            <a:off x="156534" y="2707779"/>
            <a:ext cx="5588603" cy="441913"/>
          </a:xfrm>
          <a:prstGeom prst="roundRect">
            <a:avLst>
              <a:gd name="adj" fmla="val 25035"/>
            </a:avLst>
          </a:prstGeom>
          <a:solidFill>
            <a:srgbClr val="D4CD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5" name="Рисунок 64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036" b="44631"/>
          <a:stretch/>
        </p:blipFill>
        <p:spPr>
          <a:xfrm>
            <a:off x="9499403" y="3038822"/>
            <a:ext cx="1779762" cy="414701"/>
          </a:xfrm>
          <a:prstGeom prst="rect">
            <a:avLst/>
          </a:prstGeom>
        </p:spPr>
      </p:pic>
      <p:sp>
        <p:nvSpPr>
          <p:cNvPr id="75" name="Прямоугольник 26"/>
          <p:cNvSpPr/>
          <p:nvPr/>
        </p:nvSpPr>
        <p:spPr>
          <a:xfrm>
            <a:off x="2184954" y="1981674"/>
            <a:ext cx="1125221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в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ід 0,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до 2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га  </a:t>
            </a:r>
            <a:endParaRPr kumimoji="0" lang="uk-UA" sz="1200" b="0" i="0" u="none" strike="noStrike" kern="1200" cap="none" spc="0" normalizeH="0" baseline="0" noProof="0" dirty="0" smtClean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05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/-20%</a:t>
            </a:r>
            <a:endParaRPr kumimoji="0" lang="ru-RU" sz="105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6" name="Прямоугольник 1"/>
          <p:cNvSpPr/>
          <p:nvPr/>
        </p:nvSpPr>
        <p:spPr>
          <a:xfrm>
            <a:off x="374698" y="2758577"/>
            <a:ext cx="545455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Співфінансування держави та фермера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7" name="Прямоугольник 7"/>
          <p:cNvSpPr/>
          <p:nvPr/>
        </p:nvSpPr>
        <p:spPr>
          <a:xfrm>
            <a:off x="277835" y="3218712"/>
            <a:ext cx="517998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На будівництво </a:t>
            </a: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1 000 </a:t>
            </a: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модульних теплиць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9" name="Рисунок 78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7359" y="1389321"/>
            <a:ext cx="430138" cy="432000"/>
          </a:xfrm>
          <a:prstGeom prst="rect">
            <a:avLst/>
          </a:prstGeom>
        </p:spPr>
      </p:pic>
      <p:pic>
        <p:nvPicPr>
          <p:cNvPr id="80" name="Рисунок 79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998" y="1538451"/>
            <a:ext cx="430138" cy="432000"/>
          </a:xfrm>
          <a:prstGeom prst="rect">
            <a:avLst/>
          </a:prstGeom>
        </p:spPr>
      </p:pic>
      <p:pic>
        <p:nvPicPr>
          <p:cNvPr id="81" name="Рисунок 80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018" y="2079869"/>
            <a:ext cx="432000" cy="432000"/>
          </a:xfrm>
          <a:prstGeom prst="rect">
            <a:avLst/>
          </a:prstGeom>
        </p:spPr>
      </p:pic>
      <p:pic>
        <p:nvPicPr>
          <p:cNvPr id="82" name="Рисунок 81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5844" y="4642226"/>
            <a:ext cx="432000" cy="432000"/>
          </a:xfrm>
          <a:prstGeom prst="rect">
            <a:avLst/>
          </a:prstGeom>
        </p:spPr>
      </p:pic>
      <p:sp>
        <p:nvSpPr>
          <p:cNvPr id="84" name="Прямоугольник 3"/>
          <p:cNvSpPr/>
          <p:nvPr/>
        </p:nvSpPr>
        <p:spPr>
          <a:xfrm>
            <a:off x="708601" y="2065036"/>
            <a:ext cx="146662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ин тепличний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одуль на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5" name="Прямоугольник 4"/>
          <p:cNvSpPr/>
          <p:nvPr/>
        </p:nvSpPr>
        <p:spPr>
          <a:xfrm>
            <a:off x="682725" y="1514888"/>
            <a:ext cx="16371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юридичні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оби </a:t>
            </a:r>
            <a:endParaRPr kumimoji="0" lang="uk-UA" sz="12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бо ФОП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90" name="Рисунок 89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447" y="3870660"/>
            <a:ext cx="430138" cy="432000"/>
          </a:xfrm>
          <a:prstGeom prst="rect">
            <a:avLst/>
          </a:prstGeom>
        </p:spPr>
      </p:pic>
      <p:sp>
        <p:nvSpPr>
          <p:cNvPr id="91" name="Прямоугольник 10"/>
          <p:cNvSpPr/>
          <p:nvPr/>
        </p:nvSpPr>
        <p:spPr>
          <a:xfrm>
            <a:off x="581151" y="3554421"/>
            <a:ext cx="3007669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ант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0%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ртості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е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 більше </a:t>
            </a: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лн.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рн</a:t>
            </a:r>
            <a:endParaRPr kumimoji="0" lang="uk-UA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2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,4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0,6 гектара -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  млн.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н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0,8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1,2 гектара -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,5 млн.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н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,6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 2,4 гектара -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 млн.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н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2" name="Прямоугольник 12"/>
          <p:cNvSpPr/>
          <p:nvPr/>
        </p:nvSpPr>
        <p:spPr>
          <a:xfrm>
            <a:off x="4464804" y="3855827"/>
            <a:ext cx="126970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%+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астк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ласних коштів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93" name="Рисунок 92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661" y="3875826"/>
            <a:ext cx="432000" cy="432000"/>
          </a:xfrm>
          <a:prstGeom prst="rect">
            <a:avLst/>
          </a:prstGeom>
        </p:spPr>
      </p:pic>
      <p:pic>
        <p:nvPicPr>
          <p:cNvPr id="96" name="Рисунок 95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4327" y="1393391"/>
            <a:ext cx="430138" cy="432000"/>
          </a:xfrm>
          <a:prstGeom prst="rect">
            <a:avLst/>
          </a:prstGeom>
        </p:spPr>
      </p:pic>
      <p:pic>
        <p:nvPicPr>
          <p:cNvPr id="97" name="Рисунок 9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1037" y="1421224"/>
            <a:ext cx="375164" cy="375164"/>
          </a:xfrm>
          <a:prstGeom prst="rect">
            <a:avLst/>
          </a:prstGeom>
        </p:spPr>
      </p:pic>
      <p:sp>
        <p:nvSpPr>
          <p:cNvPr id="99" name="Прямоугольник 48"/>
          <p:cNvSpPr/>
          <p:nvPr/>
        </p:nvSpPr>
        <p:spPr>
          <a:xfrm>
            <a:off x="10250451" y="1832218"/>
            <a:ext cx="188290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евірка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и </a:t>
            </a:r>
            <a:b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нком </a:t>
            </a: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 5 </a:t>
            </a:r>
            <a:r>
              <a:rPr kumimoji="0" lang="uk-UA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іб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D4CD00"/>
              </a:solidFill>
              <a:effectLst/>
              <a:uLnTx/>
              <a:uFillTx/>
              <a:latin typeface="Arial Black" panose="020B0A040201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Прямоугольник 49"/>
          <p:cNvSpPr/>
          <p:nvPr/>
        </p:nvSpPr>
        <p:spPr>
          <a:xfrm>
            <a:off x="6633165" y="3487372"/>
            <a:ext cx="252868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агрополітики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повідомляє про рішення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нк,</a:t>
            </a: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економіки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римувача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Прямоугольник 50"/>
          <p:cNvSpPr/>
          <p:nvPr/>
        </p:nvSpPr>
        <p:spPr>
          <a:xfrm>
            <a:off x="9310795" y="3433915"/>
            <a:ext cx="2162656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ішення про надання гранту </a:t>
            </a:r>
            <a:r>
              <a:rPr kumimoji="0" lang="uk-UA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 </a:t>
            </a: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 діб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D4CD00"/>
              </a:solidFill>
              <a:effectLst/>
              <a:uLnTx/>
              <a:uFillTx/>
              <a:latin typeface="Arial Black" panose="020B0A040201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Прямоугольник 51"/>
          <p:cNvSpPr/>
          <p:nvPr/>
        </p:nvSpPr>
        <p:spPr>
          <a:xfrm>
            <a:off x="10092072" y="5160232"/>
            <a:ext cx="19506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ржава перераховує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 70%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уми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зміру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анту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4" name="Рисунок 103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7522" y="1895406"/>
            <a:ext cx="652929" cy="326464"/>
          </a:xfrm>
          <a:prstGeom prst="rect">
            <a:avLst/>
          </a:prstGeom>
        </p:spPr>
      </p:pic>
      <p:pic>
        <p:nvPicPr>
          <p:cNvPr id="106" name="Рисунок 105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0662" y="2928471"/>
            <a:ext cx="495902" cy="495902"/>
          </a:xfrm>
          <a:prstGeom prst="rect">
            <a:avLst/>
          </a:prstGeom>
        </p:spPr>
      </p:pic>
      <p:pic>
        <p:nvPicPr>
          <p:cNvPr id="107" name="Рисунок 10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8206" y="3002206"/>
            <a:ext cx="430138" cy="432000"/>
          </a:xfrm>
          <a:prstGeom prst="rect">
            <a:avLst/>
          </a:prstGeom>
        </p:spPr>
      </p:pic>
      <p:pic>
        <p:nvPicPr>
          <p:cNvPr id="108" name="Рисунок 107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0371" y="3084538"/>
            <a:ext cx="652929" cy="326464"/>
          </a:xfrm>
          <a:prstGeom prst="rect">
            <a:avLst/>
          </a:prstGeom>
        </p:spPr>
      </p:pic>
      <p:pic>
        <p:nvPicPr>
          <p:cNvPr id="109" name="Рисунок 108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9778" y="4696929"/>
            <a:ext cx="652929" cy="326464"/>
          </a:xfrm>
          <a:prstGeom prst="rect">
            <a:avLst/>
          </a:prstGeom>
        </p:spPr>
      </p:pic>
      <p:cxnSp>
        <p:nvCxnSpPr>
          <p:cNvPr id="110" name="Соединительная линия уступом 59"/>
          <p:cNvCxnSpPr>
            <a:stCxn id="79" idx="3"/>
            <a:endCxn id="104" idx="0"/>
          </p:cNvCxnSpPr>
          <p:nvPr/>
        </p:nvCxnSpPr>
        <p:spPr>
          <a:xfrm>
            <a:off x="8127497" y="1605321"/>
            <a:ext cx="1796490" cy="290085"/>
          </a:xfrm>
          <a:prstGeom prst="bentConnector2">
            <a:avLst/>
          </a:prstGeom>
          <a:ln w="1905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Прямая со стрелкой 60"/>
          <p:cNvCxnSpPr>
            <a:stCxn id="104" idx="2"/>
          </p:cNvCxnSpPr>
          <p:nvPr/>
        </p:nvCxnSpPr>
        <p:spPr>
          <a:xfrm flipH="1">
            <a:off x="9923986" y="2221870"/>
            <a:ext cx="1" cy="816952"/>
          </a:xfrm>
          <a:prstGeom prst="straightConnector1">
            <a:avLst/>
          </a:prstGeom>
          <a:ln w="1905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Прямая со стрелкой 61"/>
          <p:cNvCxnSpPr>
            <a:stCxn id="65" idx="1"/>
            <a:endCxn id="108" idx="3"/>
          </p:cNvCxnSpPr>
          <p:nvPr/>
        </p:nvCxnSpPr>
        <p:spPr>
          <a:xfrm flipH="1">
            <a:off x="8393300" y="3246173"/>
            <a:ext cx="1106103" cy="1597"/>
          </a:xfrm>
          <a:prstGeom prst="straightConnector1">
            <a:avLst/>
          </a:prstGeom>
          <a:ln w="1905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3" name="Рисунок 112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534" y="4647133"/>
            <a:ext cx="430138" cy="432000"/>
          </a:xfrm>
          <a:prstGeom prst="rect">
            <a:avLst/>
          </a:prstGeom>
        </p:spPr>
      </p:pic>
      <p:cxnSp>
        <p:nvCxnSpPr>
          <p:cNvPr id="114" name="Прямая со стрелкой 63"/>
          <p:cNvCxnSpPr/>
          <p:nvPr/>
        </p:nvCxnSpPr>
        <p:spPr>
          <a:xfrm flipH="1">
            <a:off x="7300877" y="4767999"/>
            <a:ext cx="1248199" cy="193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 стрелкой 64"/>
          <p:cNvCxnSpPr/>
          <p:nvPr/>
        </p:nvCxnSpPr>
        <p:spPr>
          <a:xfrm flipV="1">
            <a:off x="7306926" y="4931340"/>
            <a:ext cx="1248199" cy="193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 стрелкой 65"/>
          <p:cNvCxnSpPr/>
          <p:nvPr/>
        </p:nvCxnSpPr>
        <p:spPr>
          <a:xfrm flipH="1">
            <a:off x="9519003" y="4858226"/>
            <a:ext cx="1248199" cy="193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7" name="Рисунок 116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3628" y="1395424"/>
            <a:ext cx="252000" cy="252000"/>
          </a:xfrm>
          <a:prstGeom prst="rect">
            <a:avLst/>
          </a:prstGeom>
        </p:spPr>
      </p:pic>
      <p:pic>
        <p:nvPicPr>
          <p:cNvPr id="118" name="Рисунок 117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6720" y="4412613"/>
            <a:ext cx="252000" cy="252000"/>
          </a:xfrm>
          <a:prstGeom prst="rect">
            <a:avLst/>
          </a:prstGeom>
        </p:spPr>
      </p:pic>
      <p:pic>
        <p:nvPicPr>
          <p:cNvPr id="119" name="Рисунок 118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82661" y="3285857"/>
            <a:ext cx="140134" cy="180000"/>
          </a:xfrm>
          <a:prstGeom prst="rect">
            <a:avLst/>
          </a:prstGeom>
        </p:spPr>
      </p:pic>
      <p:cxnSp>
        <p:nvCxnSpPr>
          <p:cNvPr id="124" name="Прямая соединительная линия 89"/>
          <p:cNvCxnSpPr/>
          <p:nvPr/>
        </p:nvCxnSpPr>
        <p:spPr>
          <a:xfrm>
            <a:off x="6240312" y="1429378"/>
            <a:ext cx="0" cy="5211430"/>
          </a:xfrm>
          <a:prstGeom prst="line">
            <a:avLst/>
          </a:prstGeom>
          <a:ln w="19050">
            <a:solidFill>
              <a:srgbClr val="D4CD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90"/>
          <p:cNvCxnSpPr/>
          <p:nvPr/>
        </p:nvCxnSpPr>
        <p:spPr>
          <a:xfrm flipV="1">
            <a:off x="6384644" y="4259604"/>
            <a:ext cx="5658060" cy="13771"/>
          </a:xfrm>
          <a:prstGeom prst="line">
            <a:avLst/>
          </a:prstGeom>
          <a:ln w="19050">
            <a:solidFill>
              <a:srgbClr val="D4CD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Скругленный прямоугольник 66"/>
          <p:cNvSpPr/>
          <p:nvPr/>
        </p:nvSpPr>
        <p:spPr>
          <a:xfrm>
            <a:off x="8626766" y="1094801"/>
            <a:ext cx="1825850" cy="31959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uk-UA" sz="1600" b="1" dirty="0">
                <a:solidFill>
                  <a:srgbClr val="70AD47">
                    <a:lumMod val="50000"/>
                  </a:srgbClr>
                </a:solidFill>
                <a:latin typeface="Arial Black" panose="020B0A04020102020204" pitchFamily="34" charset="0"/>
              </a:rPr>
              <a:t>Процес</a:t>
            </a:r>
            <a:endParaRPr lang="ru-RU" sz="1600" b="1" dirty="0">
              <a:solidFill>
                <a:srgbClr val="70AD47">
                  <a:lumMod val="50000"/>
                </a:srgbClr>
              </a:solidFill>
              <a:latin typeface="Arial Black" panose="020B0A04020102020204" pitchFamily="34" charset="0"/>
            </a:endParaRPr>
          </a:p>
        </p:txBody>
      </p:sp>
      <p:sp>
        <p:nvSpPr>
          <p:cNvPr id="128" name="Скругленный прямоугольник 67"/>
          <p:cNvSpPr/>
          <p:nvPr/>
        </p:nvSpPr>
        <p:spPr>
          <a:xfrm>
            <a:off x="2202054" y="1091794"/>
            <a:ext cx="1825850" cy="31959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Умов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50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29" name="Прямоугольник 41"/>
          <p:cNvSpPr/>
          <p:nvPr/>
        </p:nvSpPr>
        <p:spPr>
          <a:xfrm>
            <a:off x="6720550" y="1916666"/>
            <a:ext cx="14118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собисто через  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b-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ртал Дія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30" name="Рисунок 129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7956" y="1501492"/>
            <a:ext cx="432000" cy="432000"/>
          </a:xfrm>
          <a:prstGeom prst="rect">
            <a:avLst/>
          </a:prstGeom>
        </p:spPr>
      </p:pic>
      <p:sp>
        <p:nvSpPr>
          <p:cNvPr id="131" name="Прямоугольник 6"/>
          <p:cNvSpPr/>
          <p:nvPr/>
        </p:nvSpPr>
        <p:spPr>
          <a:xfrm>
            <a:off x="2974759" y="1563227"/>
            <a:ext cx="313283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ворення робочих місць</a:t>
            </a:r>
            <a:endParaRPr kumimoji="0" lang="uk-UA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2" name="Прямоугольник 56"/>
          <p:cNvSpPr/>
          <p:nvPr/>
        </p:nvSpPr>
        <p:spPr>
          <a:xfrm>
            <a:off x="2976658" y="2035746"/>
            <a:ext cx="313093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право власності та/або користування землею не менше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7 років</a:t>
            </a:r>
            <a:endParaRPr kumimoji="0" lang="uk-UA" sz="12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Прямоугольник 15"/>
          <p:cNvSpPr/>
          <p:nvPr/>
        </p:nvSpPr>
        <p:spPr>
          <a:xfrm>
            <a:off x="6768723" y="2373166"/>
            <a:ext cx="3155263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-1800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а</a:t>
            </a:r>
          </a:p>
          <a:p>
            <a:pPr marL="0" marR="0" lvl="0" indent="-1800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ект типової теплиці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4" name="Прямоугольник 56"/>
          <p:cNvSpPr/>
          <p:nvPr/>
        </p:nvSpPr>
        <p:spPr>
          <a:xfrm>
            <a:off x="9390717" y="6518458"/>
            <a:ext cx="270204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рант 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дається у безготівковому вигляді</a:t>
            </a:r>
            <a:endParaRPr kumimoji="0" lang="uk-UA" sz="10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2" name="Прямоугольник 47"/>
          <p:cNvSpPr/>
          <p:nvPr/>
        </p:nvSpPr>
        <p:spPr>
          <a:xfrm>
            <a:off x="345936" y="5261685"/>
            <a:ext cx="5475116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рок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удівництва модульної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плиці не повинен перевищувати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2 місяців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 часу отримання коштів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ворити щонайменше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4 чоловік на 1 га нових робочих місць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безпечити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одульну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плицю джерелом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одозабору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рошенням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вадити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ідприємницьку діяльність після закінчення будівництва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тягом не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енше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 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оків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плачувати до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юджету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датки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 збори протягом не менше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 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оків</a:t>
            </a:r>
            <a:endParaRPr kumimoji="0" lang="ru-RU" sz="11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6" name="Скругленный прямоугольник 59"/>
          <p:cNvSpPr/>
          <p:nvPr/>
        </p:nvSpPr>
        <p:spPr>
          <a:xfrm>
            <a:off x="2170569" y="4889674"/>
            <a:ext cx="1825850" cy="31959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Вимог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6551075" y="5148476"/>
            <a:ext cx="3906456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римувач відкриває рахунок 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нку</a:t>
            </a:r>
          </a:p>
          <a:p>
            <a:pPr marL="216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протязі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обочих днів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 дня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римання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позитивного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ішення)</a:t>
            </a:r>
            <a:endParaRPr kumimoji="0" lang="uk-UA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римувач здійснює переказ не менше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 суми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власний рахунок </a:t>
            </a:r>
            <a:r>
              <a:rPr kumimoji="0" lang="uk-U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тягом 30 календарних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нів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 startAt="2"/>
              <a:tabLst/>
              <a:defRPr/>
            </a:pP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лата витрат, пов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’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язаних з реалізацією проекту,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водиться уповноваженим банком на підставі рахунків-фактур та договору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5680" y="126700"/>
            <a:ext cx="950218" cy="553998"/>
          </a:xfrm>
          <a:prstGeom prst="rect">
            <a:avLst/>
          </a:prstGeom>
        </p:spPr>
      </p:pic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C13F1655-8EED-725C-47C4-44371E617CCF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9894008" y="99196"/>
            <a:ext cx="1261672" cy="625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0442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Прямоугольник 1"/>
          <p:cNvSpPr/>
          <p:nvPr/>
        </p:nvSpPr>
        <p:spPr>
          <a:xfrm>
            <a:off x="0" y="-135182"/>
            <a:ext cx="12192000" cy="886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3" name="Рисунок 7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9272" y="-61067"/>
            <a:ext cx="856523" cy="738466"/>
          </a:xfrm>
          <a:prstGeom prst="rect">
            <a:avLst/>
          </a:prstGeom>
        </p:spPr>
      </p:pic>
      <p:pic>
        <p:nvPicPr>
          <p:cNvPr id="74" name="Рисунок 7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4325" y="-10160"/>
            <a:ext cx="740226" cy="685423"/>
          </a:xfrm>
          <a:prstGeom prst="rect">
            <a:avLst/>
          </a:prstGeom>
        </p:spPr>
      </p:pic>
      <p:sp>
        <p:nvSpPr>
          <p:cNvPr id="63" name="Скругленный прямоугольник 70"/>
          <p:cNvSpPr/>
          <p:nvPr/>
        </p:nvSpPr>
        <p:spPr>
          <a:xfrm>
            <a:off x="123299" y="2677956"/>
            <a:ext cx="5588603" cy="441913"/>
          </a:xfrm>
          <a:prstGeom prst="roundRect">
            <a:avLst>
              <a:gd name="adj" fmla="val 25035"/>
            </a:avLst>
          </a:prstGeom>
          <a:solidFill>
            <a:srgbClr val="D4CD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6" name="Прямоугольник 1"/>
          <p:cNvSpPr/>
          <p:nvPr/>
        </p:nvSpPr>
        <p:spPr>
          <a:xfrm>
            <a:off x="220921" y="2727630"/>
            <a:ext cx="545455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Співфінансування </a:t>
            </a: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держави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7" name="Прямоугольник 7"/>
          <p:cNvSpPr/>
          <p:nvPr/>
        </p:nvSpPr>
        <p:spPr>
          <a:xfrm>
            <a:off x="277835" y="3218712"/>
            <a:ext cx="238267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Перші </a:t>
            </a: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1 000 </a:t>
            </a:r>
            <a:r>
              <a:rPr kumimoji="0" lang="uk-UA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грантів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8" name="Прямоугольник 11"/>
          <p:cNvSpPr/>
          <p:nvPr/>
        </p:nvSpPr>
        <p:spPr>
          <a:xfrm>
            <a:off x="258530" y="4744404"/>
            <a:ext cx="19751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ступні </a:t>
            </a:r>
            <a:r>
              <a:rPr kumimoji="0" lang="uk-UA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ки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0" name="Рисунок 7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998" y="1538451"/>
            <a:ext cx="430138" cy="432000"/>
          </a:xfrm>
          <a:prstGeom prst="rect">
            <a:avLst/>
          </a:prstGeom>
        </p:spPr>
      </p:pic>
      <p:pic>
        <p:nvPicPr>
          <p:cNvPr id="82" name="Рисунок 81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5844" y="4642226"/>
            <a:ext cx="432000" cy="432000"/>
          </a:xfrm>
          <a:prstGeom prst="rect">
            <a:avLst/>
          </a:prstGeom>
        </p:spPr>
      </p:pic>
      <p:pic>
        <p:nvPicPr>
          <p:cNvPr id="90" name="Рисунок 8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780" y="4227326"/>
            <a:ext cx="430138" cy="432000"/>
          </a:xfrm>
          <a:prstGeom prst="rect">
            <a:avLst/>
          </a:prstGeom>
        </p:spPr>
      </p:pic>
      <p:sp>
        <p:nvSpPr>
          <p:cNvPr id="91" name="Прямоугольник 10"/>
          <p:cNvSpPr/>
          <p:nvPr/>
        </p:nvSpPr>
        <p:spPr>
          <a:xfrm>
            <a:off x="617672" y="3671759"/>
            <a:ext cx="3217209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ант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0%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ртості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екту,</a:t>
            </a:r>
            <a:b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ле не більше 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uk-UA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лн. грн.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2" name="Прямоугольник 12"/>
          <p:cNvSpPr/>
          <p:nvPr/>
        </p:nvSpPr>
        <p:spPr>
          <a:xfrm>
            <a:off x="616944" y="4227326"/>
            <a:ext cx="198310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+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астка власних* ч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кредитних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штів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93" name="Рисунок 9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661" y="3685530"/>
            <a:ext cx="432000" cy="432000"/>
          </a:xfrm>
          <a:prstGeom prst="rect">
            <a:avLst/>
          </a:prstGeom>
        </p:spPr>
      </p:pic>
      <p:sp>
        <p:nvSpPr>
          <p:cNvPr id="95" name="Прямоугольник 17"/>
          <p:cNvSpPr/>
          <p:nvPr/>
        </p:nvSpPr>
        <p:spPr>
          <a:xfrm>
            <a:off x="619487" y="5135048"/>
            <a:ext cx="2384682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рант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 50%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ртості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екту,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але не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льше </a:t>
            </a: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лн. грн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2" name="Прямоугольник 51"/>
          <p:cNvSpPr/>
          <p:nvPr/>
        </p:nvSpPr>
        <p:spPr>
          <a:xfrm>
            <a:off x="10092072" y="5160232"/>
            <a:ext cx="195063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ржава перераховує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 70% або 50% суми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зміру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анту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3" name="Прямоугольник 52"/>
          <p:cNvSpPr/>
          <p:nvPr/>
        </p:nvSpPr>
        <p:spPr>
          <a:xfrm>
            <a:off x="6533940" y="5143723"/>
            <a:ext cx="3836909" cy="2017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римувач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ідкриває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хунок в банку</a:t>
            </a: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kumimoji="0" lang="uk-UA" sz="100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протязі 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 </a:t>
            </a:r>
            <a:r>
              <a:rPr kumimoji="0" lang="uk-UA" sz="100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обочих 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нів з дня прийняття рішення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Отримувач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носить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0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 або 50%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уми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обхідної для перерахуванн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</a:t>
            </a:r>
            <a:r>
              <a:rPr kumimoji="0" lang="uk-UA" sz="100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протязі 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 </a:t>
            </a:r>
            <a:r>
              <a:rPr kumimoji="0" lang="uk-UA" sz="1000" b="0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обочих 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нів з дня прийняття рішення)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.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лата витрат, пов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’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язаних з реалізацією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екту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,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водиться уповноваженим банком на підставі рахунків-фактур та договору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9" name="Рисунок 10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39778" y="4696929"/>
            <a:ext cx="652929" cy="326464"/>
          </a:xfrm>
          <a:prstGeom prst="rect">
            <a:avLst/>
          </a:prstGeom>
        </p:spPr>
      </p:pic>
      <p:pic>
        <p:nvPicPr>
          <p:cNvPr id="113" name="Рисунок 1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7534" y="4647133"/>
            <a:ext cx="430138" cy="432000"/>
          </a:xfrm>
          <a:prstGeom prst="rect">
            <a:avLst/>
          </a:prstGeom>
        </p:spPr>
      </p:pic>
      <p:cxnSp>
        <p:nvCxnSpPr>
          <p:cNvPr id="114" name="Прямая со стрелкой 63"/>
          <p:cNvCxnSpPr/>
          <p:nvPr/>
        </p:nvCxnSpPr>
        <p:spPr>
          <a:xfrm flipH="1">
            <a:off x="7300877" y="4767999"/>
            <a:ext cx="1248199" cy="193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 стрелкой 64"/>
          <p:cNvCxnSpPr/>
          <p:nvPr/>
        </p:nvCxnSpPr>
        <p:spPr>
          <a:xfrm flipV="1">
            <a:off x="7306926" y="4931340"/>
            <a:ext cx="1248199" cy="193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 стрелкой 65"/>
          <p:cNvCxnSpPr/>
          <p:nvPr/>
        </p:nvCxnSpPr>
        <p:spPr>
          <a:xfrm flipH="1">
            <a:off x="9519003" y="4858226"/>
            <a:ext cx="1248199" cy="1935"/>
          </a:xfrm>
          <a:prstGeom prst="straightConnector1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8" name="Рисунок 117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6720" y="4412613"/>
            <a:ext cx="252000" cy="252000"/>
          </a:xfrm>
          <a:prstGeom prst="rect">
            <a:avLst/>
          </a:prstGeom>
        </p:spPr>
      </p:pic>
      <p:pic>
        <p:nvPicPr>
          <p:cNvPr id="119" name="Рисунок 118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82661" y="3285857"/>
            <a:ext cx="140134" cy="180000"/>
          </a:xfrm>
          <a:prstGeom prst="rect">
            <a:avLst/>
          </a:prstGeom>
        </p:spPr>
      </p:pic>
      <p:pic>
        <p:nvPicPr>
          <p:cNvPr id="120" name="Рисунок 119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182661" y="4808292"/>
            <a:ext cx="140134" cy="180000"/>
          </a:xfrm>
          <a:prstGeom prst="rect">
            <a:avLst/>
          </a:prstGeom>
        </p:spPr>
      </p:pic>
      <p:pic>
        <p:nvPicPr>
          <p:cNvPr id="121" name="Рисунок 120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123" y="5881467"/>
            <a:ext cx="430138" cy="432000"/>
          </a:xfrm>
          <a:prstGeom prst="rect">
            <a:avLst/>
          </a:prstGeom>
        </p:spPr>
      </p:pic>
      <p:pic>
        <p:nvPicPr>
          <p:cNvPr id="122" name="Рисунок 121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261" y="5158710"/>
            <a:ext cx="432000" cy="432000"/>
          </a:xfrm>
          <a:prstGeom prst="rect">
            <a:avLst/>
          </a:prstGeom>
        </p:spPr>
      </p:pic>
      <p:sp>
        <p:nvSpPr>
          <p:cNvPr id="123" name="Прямоугольник 75"/>
          <p:cNvSpPr/>
          <p:nvPr/>
        </p:nvSpPr>
        <p:spPr>
          <a:xfrm>
            <a:off x="617471" y="5866634"/>
            <a:ext cx="210910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50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%+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астка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ласних*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ч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кредитних коштів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4" name="Прямая соединительная линия 89"/>
          <p:cNvCxnSpPr/>
          <p:nvPr/>
        </p:nvCxnSpPr>
        <p:spPr>
          <a:xfrm>
            <a:off x="6240312" y="1429378"/>
            <a:ext cx="0" cy="5211430"/>
          </a:xfrm>
          <a:prstGeom prst="line">
            <a:avLst/>
          </a:prstGeom>
          <a:ln w="19050">
            <a:solidFill>
              <a:srgbClr val="D4CD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Прямая соединительная линия 90"/>
          <p:cNvCxnSpPr/>
          <p:nvPr/>
        </p:nvCxnSpPr>
        <p:spPr>
          <a:xfrm flipV="1">
            <a:off x="6384644" y="4259604"/>
            <a:ext cx="5658060" cy="13771"/>
          </a:xfrm>
          <a:prstGeom prst="line">
            <a:avLst/>
          </a:prstGeom>
          <a:ln w="19050">
            <a:solidFill>
              <a:srgbClr val="D4CD0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Скругленный прямоугольник 66"/>
          <p:cNvSpPr/>
          <p:nvPr/>
        </p:nvSpPr>
        <p:spPr>
          <a:xfrm>
            <a:off x="8626766" y="1094801"/>
            <a:ext cx="1825850" cy="31959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Процес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50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28" name="Скругленный прямоугольник 67"/>
          <p:cNvSpPr/>
          <p:nvPr/>
        </p:nvSpPr>
        <p:spPr>
          <a:xfrm>
            <a:off x="2202054" y="1091794"/>
            <a:ext cx="1825850" cy="31959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Умов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50000"/>
                </a:srgbClr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133" name="Прямоугольник 47"/>
          <p:cNvSpPr/>
          <p:nvPr/>
        </p:nvSpPr>
        <p:spPr>
          <a:xfrm>
            <a:off x="3016581" y="4463594"/>
            <a:ext cx="3241325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рок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икористання гранту не повинен перевищувати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2 місяців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 часу отримання коштів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ворення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ових робочих місць згідно отриманої суми гранту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плата протягом 3 років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з дня отримання гранту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датків, зборів</a:t>
            </a:r>
            <a:r>
              <a:rPr kumimoji="0" lang="uk-UA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обов’язкових платежів), єдиного внеску на загальнообов’язкове державне соціальне страхування до зведеного бюджету України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 розмірі отриманого гранту</a:t>
            </a:r>
            <a:endParaRPr kumimoji="0" lang="uk-UA" sz="11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4" name="Скругленный прямоугольник 59"/>
          <p:cNvSpPr/>
          <p:nvPr/>
        </p:nvSpPr>
        <p:spPr>
          <a:xfrm>
            <a:off x="3486227" y="4016668"/>
            <a:ext cx="1825850" cy="319596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Вимоги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sp>
        <p:nvSpPr>
          <p:cNvPr id="64" name="Прямоугольник 21"/>
          <p:cNvSpPr/>
          <p:nvPr/>
        </p:nvSpPr>
        <p:spPr>
          <a:xfrm>
            <a:off x="29839" y="121265"/>
            <a:ext cx="6170279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3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«єРобота</a:t>
            </a:r>
            <a:r>
              <a:rPr kumimoji="0" lang="uk-UA" sz="3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: НОВИЙ РІВЕНЬ» </a:t>
            </a:r>
            <a:endParaRPr kumimoji="0" lang="ru-RU" sz="3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itchFamily="34" charset="0"/>
              <a:ea typeface="+mn-ea"/>
              <a:cs typeface="+mn-cs"/>
            </a:endParaRPr>
          </a:p>
        </p:txBody>
      </p:sp>
      <p:pic>
        <p:nvPicPr>
          <p:cNvPr id="67" name="Рисунок 66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1331" y="1392619"/>
            <a:ext cx="430138" cy="432000"/>
          </a:xfrm>
          <a:prstGeom prst="rect">
            <a:avLst/>
          </a:prstGeom>
        </p:spPr>
      </p:pic>
      <p:pic>
        <p:nvPicPr>
          <p:cNvPr id="68" name="Рисунок 67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299" y="1396689"/>
            <a:ext cx="430138" cy="432000"/>
          </a:xfrm>
          <a:prstGeom prst="rect">
            <a:avLst/>
          </a:prstGeom>
        </p:spPr>
      </p:pic>
      <p:pic>
        <p:nvPicPr>
          <p:cNvPr id="69" name="Рисунок 6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009" y="1424522"/>
            <a:ext cx="375164" cy="375164"/>
          </a:xfrm>
          <a:prstGeom prst="rect">
            <a:avLst/>
          </a:prstGeom>
        </p:spPr>
      </p:pic>
      <p:sp>
        <p:nvSpPr>
          <p:cNvPr id="72" name="Прямоугольник 48"/>
          <p:cNvSpPr/>
          <p:nvPr/>
        </p:nvSpPr>
        <p:spPr>
          <a:xfrm>
            <a:off x="10334423" y="1835516"/>
            <a:ext cx="1758341" cy="5524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евірка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и </a:t>
            </a:r>
            <a:b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нком </a:t>
            </a: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 5 </a:t>
            </a:r>
            <a:r>
              <a:rPr kumimoji="0" lang="uk-UA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іб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D4CD00"/>
              </a:solidFill>
              <a:effectLst/>
              <a:uLnTx/>
              <a:uFillTx/>
              <a:latin typeface="Arial Black" panose="020B0A040201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3" name="Прямоугольник 49"/>
          <p:cNvSpPr/>
          <p:nvPr/>
        </p:nvSpPr>
        <p:spPr>
          <a:xfrm>
            <a:off x="6717137" y="3434684"/>
            <a:ext cx="301031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інекономіки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відомляє про рішення 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нк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108000" marR="0" lvl="0" indent="-108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нк </a:t>
            </a: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відомляє 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о рішення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тримувача</a:t>
            </a:r>
            <a:r>
              <a:rPr kumimoji="0" lang="uk-UA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86" name="Прямоугольник 50"/>
          <p:cNvSpPr/>
          <p:nvPr/>
        </p:nvSpPr>
        <p:spPr>
          <a:xfrm>
            <a:off x="9554566" y="3437213"/>
            <a:ext cx="2162656" cy="5524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ішення про надання гранту </a:t>
            </a:r>
            <a:r>
              <a:rPr kumimoji="0" lang="uk-UA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 15 </a:t>
            </a: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anose="020B0A040201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іб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D4CD00"/>
              </a:solidFill>
              <a:effectLst/>
              <a:uLnTx/>
              <a:uFillTx/>
              <a:latin typeface="Arial Black" panose="020B0A040201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87" name="Рисунок 86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81494" y="1898704"/>
            <a:ext cx="652929" cy="326464"/>
          </a:xfrm>
          <a:prstGeom prst="rect">
            <a:avLst/>
          </a:prstGeom>
        </p:spPr>
      </p:pic>
      <p:pic>
        <p:nvPicPr>
          <p:cNvPr id="89" name="Рисунок 88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2591" y="3080874"/>
            <a:ext cx="652929" cy="326464"/>
          </a:xfrm>
          <a:prstGeom prst="rect">
            <a:avLst/>
          </a:prstGeom>
        </p:spPr>
      </p:pic>
      <p:cxnSp>
        <p:nvCxnSpPr>
          <p:cNvPr id="98" name="Соединительная линия уступом 59"/>
          <p:cNvCxnSpPr>
            <a:stCxn id="67" idx="3"/>
            <a:endCxn id="87" idx="0"/>
          </p:cNvCxnSpPr>
          <p:nvPr/>
        </p:nvCxnSpPr>
        <p:spPr>
          <a:xfrm>
            <a:off x="8211469" y="1608619"/>
            <a:ext cx="1796490" cy="290085"/>
          </a:xfrm>
          <a:prstGeom prst="bentConnector2">
            <a:avLst/>
          </a:prstGeom>
          <a:ln w="1905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 стрелкой 60"/>
          <p:cNvCxnSpPr>
            <a:stCxn id="87" idx="2"/>
          </p:cNvCxnSpPr>
          <p:nvPr/>
        </p:nvCxnSpPr>
        <p:spPr>
          <a:xfrm flipH="1">
            <a:off x="10007958" y="2225168"/>
            <a:ext cx="1" cy="816952"/>
          </a:xfrm>
          <a:prstGeom prst="straightConnector1">
            <a:avLst/>
          </a:prstGeom>
          <a:ln w="1905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Прямая со стрелкой 61"/>
          <p:cNvCxnSpPr>
            <a:endCxn id="89" idx="3"/>
          </p:cNvCxnSpPr>
          <p:nvPr/>
        </p:nvCxnSpPr>
        <p:spPr>
          <a:xfrm flipH="1" flipV="1">
            <a:off x="8145520" y="3244106"/>
            <a:ext cx="1581927" cy="3530"/>
          </a:xfrm>
          <a:prstGeom prst="straightConnector1">
            <a:avLst/>
          </a:prstGeom>
          <a:ln w="19050">
            <a:solidFill>
              <a:schemeClr val="bg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7" name="Рисунок 136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6578" y="1411390"/>
            <a:ext cx="252000" cy="252000"/>
          </a:xfrm>
          <a:prstGeom prst="rect">
            <a:avLst/>
          </a:prstGeom>
        </p:spPr>
      </p:pic>
      <p:pic>
        <p:nvPicPr>
          <p:cNvPr id="138" name="Рисунок 137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2341" y="2879849"/>
            <a:ext cx="586008" cy="586008"/>
          </a:xfrm>
          <a:prstGeom prst="rect">
            <a:avLst/>
          </a:prstGeom>
        </p:spPr>
      </p:pic>
      <p:pic>
        <p:nvPicPr>
          <p:cNvPr id="139" name="Рисунок 138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9294" y="3005213"/>
            <a:ext cx="430138" cy="432000"/>
          </a:xfrm>
          <a:prstGeom prst="rect">
            <a:avLst/>
          </a:prstGeom>
        </p:spPr>
      </p:pic>
      <p:sp>
        <p:nvSpPr>
          <p:cNvPr id="62" name="Прямоугольник 4"/>
          <p:cNvSpPr/>
          <p:nvPr/>
        </p:nvSpPr>
        <p:spPr>
          <a:xfrm>
            <a:off x="682725" y="1402916"/>
            <a:ext cx="16371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ізичні особи</a:t>
            </a:r>
            <a:endParaRPr kumimoji="0" lang="uk-UA" sz="12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юридичні </a:t>
            </a:r>
            <a:r>
              <a:rPr kumimoji="0" lang="uk-UA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оби </a:t>
            </a:r>
            <a:endParaRPr kumimoji="0" lang="uk-UA" sz="12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бо ФОП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5" name="Рисунок 64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V="1">
            <a:off x="2267459" y="1529155"/>
            <a:ext cx="432000" cy="432000"/>
          </a:xfrm>
          <a:prstGeom prst="rect">
            <a:avLst/>
          </a:prstGeom>
        </p:spPr>
      </p:pic>
      <p:sp>
        <p:nvSpPr>
          <p:cNvPr id="96" name="Прямоугольник 56"/>
          <p:cNvSpPr/>
          <p:nvPr/>
        </p:nvSpPr>
        <p:spPr>
          <a:xfrm>
            <a:off x="2726577" y="1415476"/>
            <a:ext cx="3346675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творення нових виробництв переробних підприємств або збільшення потужностей існуючих 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ідприємств</a:t>
            </a:r>
            <a:endParaRPr kumimoji="0" lang="uk-UA" sz="11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ридбання основних засобів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иробництва, в т.ч. яке підлягає держ. </a:t>
            </a:r>
            <a:r>
              <a:rPr kumimoji="0" lang="uk-UA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єстрації як тз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ставка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 </a:t>
            </a:r>
            <a:r>
              <a:rPr kumimoji="0" lang="uk-UA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ведення їх в експлуатацію</a:t>
            </a:r>
            <a:endParaRPr kumimoji="0" lang="uk-UA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Прямоугольник 41"/>
          <p:cNvSpPr/>
          <p:nvPr/>
        </p:nvSpPr>
        <p:spPr>
          <a:xfrm>
            <a:off x="6720550" y="1916666"/>
            <a:ext cx="141189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собисто через  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eb-</a:t>
            </a: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ртал Дія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1" name="Прямоугольник 15"/>
          <p:cNvSpPr/>
          <p:nvPr/>
        </p:nvSpPr>
        <p:spPr>
          <a:xfrm>
            <a:off x="6768723" y="2373166"/>
            <a:ext cx="3155263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-1800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ява</a:t>
            </a:r>
          </a:p>
          <a:p>
            <a:pPr marL="0" marR="0" lvl="0" indent="-180000" algn="l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знес-план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4" name="Прямоугольник 56"/>
          <p:cNvSpPr/>
          <p:nvPr/>
        </p:nvSpPr>
        <p:spPr>
          <a:xfrm>
            <a:off x="169123" y="6325997"/>
            <a:ext cx="400166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</a:t>
            </a:r>
            <a:r>
              <a:rPr kumimoji="0" lang="uk-UA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сок за рахунок власних коштів отримувача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(не кредитних) має становити </a:t>
            </a:r>
            <a:r>
              <a:rPr kumimoji="0" lang="uk-UA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 менше 20% 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артості проекту</a:t>
            </a:r>
            <a:endParaRPr kumimoji="0" lang="uk-UA" sz="10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5" name="Прямоугольник 56"/>
          <p:cNvSpPr/>
          <p:nvPr/>
        </p:nvSpPr>
        <p:spPr>
          <a:xfrm>
            <a:off x="9390717" y="6518458"/>
            <a:ext cx="270204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рант </a:t>
            </a: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дається у безготівковому вигляді</a:t>
            </a:r>
            <a:endParaRPr kumimoji="0" lang="uk-UA" sz="1000" b="0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7250" y="55484"/>
            <a:ext cx="985454" cy="553998"/>
          </a:xfrm>
          <a:prstGeom prst="rect">
            <a:avLst/>
          </a:prstGeom>
        </p:spPr>
      </p:pic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C13F1655-8EED-725C-47C4-44371E617CCF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709640" y="40415"/>
            <a:ext cx="1347610" cy="625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980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Прямоугольник 1"/>
          <p:cNvSpPr/>
          <p:nvPr/>
        </p:nvSpPr>
        <p:spPr>
          <a:xfrm>
            <a:off x="0" y="-135182"/>
            <a:ext cx="12192000" cy="886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E42B4747-80A0-45D7-90DA-DA05B80C1B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6904" y="3656420"/>
            <a:ext cx="3634635" cy="2803371"/>
          </a:xfrm>
          <a:prstGeom prst="rect">
            <a:avLst/>
          </a:prstGeom>
          <a:ln w="15875">
            <a:solidFill>
              <a:schemeClr val="accent6">
                <a:lumMod val="75000"/>
              </a:schemeClr>
            </a:solidFill>
          </a:ln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EA7154E5-5E39-457C-9E59-8B6A03F6E8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3645" y="3650688"/>
            <a:ext cx="3634635" cy="2809103"/>
          </a:xfrm>
          <a:prstGeom prst="rect">
            <a:avLst/>
          </a:prstGeom>
          <a:ln w="15875">
            <a:solidFill>
              <a:srgbClr val="996633"/>
            </a:solidFill>
          </a:ln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11F8924-40E7-46AE-BE04-58F541CE639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5672" y="3648270"/>
            <a:ext cx="4009289" cy="2811523"/>
          </a:xfrm>
          <a:prstGeom prst="rect">
            <a:avLst/>
          </a:prstGeom>
          <a:ln w="25400">
            <a:solidFill>
              <a:schemeClr val="accent5">
                <a:lumMod val="50000"/>
              </a:schemeClr>
            </a:solidFill>
          </a:ln>
        </p:spPr>
      </p:pic>
      <p:pic>
        <p:nvPicPr>
          <p:cNvPr id="94" name="Рисунок 93">
            <a:extLst>
              <a:ext uri="{FF2B5EF4-FFF2-40B4-BE49-F238E27FC236}">
                <a16:creationId xmlns:a16="http://schemas.microsoft.com/office/drawing/2014/main" id="{43908C92-6369-4C69-8C8F-8D3A7456EE3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3508" y="4071897"/>
            <a:ext cx="480106" cy="480106"/>
          </a:xfrm>
          <a:prstGeom prst="rect">
            <a:avLst/>
          </a:prstGeom>
          <a:effectLst/>
        </p:spPr>
      </p:pic>
      <p:sp>
        <p:nvSpPr>
          <p:cNvPr id="95" name="Скругленный прямоугольник 145">
            <a:extLst>
              <a:ext uri="{FF2B5EF4-FFF2-40B4-BE49-F238E27FC236}">
                <a16:creationId xmlns:a16="http://schemas.microsoft.com/office/drawing/2014/main" id="{16E9C22D-D832-4ED2-BF03-9F789941833D}"/>
              </a:ext>
            </a:extLst>
          </p:cNvPr>
          <p:cNvSpPr/>
          <p:nvPr/>
        </p:nvSpPr>
        <p:spPr>
          <a:xfrm>
            <a:off x="7779519" y="849119"/>
            <a:ext cx="4261215" cy="927330"/>
          </a:xfrm>
          <a:prstGeom prst="roundRect">
            <a:avLst>
              <a:gd name="adj" fmla="val 0"/>
            </a:avLst>
          </a:prstGeom>
          <a:noFill/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3" tIns="34293" rIns="34293" bIns="34293" rtlCol="0" anchor="ctr"/>
          <a:lstStyle/>
          <a:p>
            <a:pPr algn="just"/>
            <a:r>
              <a:rPr lang="uk-UA" sz="1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тою</a:t>
            </a:r>
            <a:r>
              <a:rPr lang="uk-UA" sz="1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рограми є підтримка відновлення та стійкості мікропідприємств у деокупованих та постраждалих від війни регіонах України шляхом надання підприємцям міні-грантів</a:t>
            </a:r>
            <a:r>
              <a:rPr lang="uk-UA" sz="1400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9594C1FD-FF0B-43D1-AF2E-EA42400D2252}"/>
              </a:ext>
            </a:extLst>
          </p:cNvPr>
          <p:cNvSpPr/>
          <p:nvPr/>
        </p:nvSpPr>
        <p:spPr>
          <a:xfrm>
            <a:off x="137505" y="846415"/>
            <a:ext cx="2743462" cy="2399345"/>
          </a:xfrm>
          <a:prstGeom prst="rect">
            <a:avLst/>
          </a:prstGeom>
          <a:noFill/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3" tIns="0" rIns="34293" bIns="0" rtlCol="0" anchor="t"/>
          <a:lstStyle/>
          <a:p>
            <a:pPr algn="ctr">
              <a:lnSpc>
                <a:spcPct val="90000"/>
              </a:lnSpc>
            </a:pPr>
            <a:r>
              <a:rPr lang="uk-UA" sz="171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грама</a:t>
            </a:r>
          </a:p>
          <a:p>
            <a:pPr algn="ctr">
              <a:lnSpc>
                <a:spcPct val="90000"/>
              </a:lnSpc>
            </a:pPr>
            <a:r>
              <a:rPr lang="uk-UA" sz="1524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</a:t>
            </a:r>
            <a:r>
              <a:rPr lang="en-US" sz="1524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U4Business: </a:t>
            </a:r>
            <a:r>
              <a:rPr lang="uk-UA" sz="1524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новлення, конкурентоспроможність та інтернаціоналізація МСП»</a:t>
            </a:r>
            <a:endParaRPr lang="en-US" sz="1524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ct val="90000"/>
              </a:lnSpc>
            </a:pPr>
            <a:endParaRPr lang="uk-UA" sz="1715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ct val="90000"/>
              </a:lnSpc>
            </a:pPr>
            <a:r>
              <a:rPr lang="uk-UA" sz="171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з</a:t>
            </a:r>
            <a:r>
              <a:rPr lang="uk-UA" sz="1334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а фінансової підтримки Уряду Німеччини та Європейського Союзу</a:t>
            </a:r>
          </a:p>
        </p:txBody>
      </p:sp>
      <p:pic>
        <p:nvPicPr>
          <p:cNvPr id="60" name="Рисунок 59">
            <a:extLst>
              <a:ext uri="{FF2B5EF4-FFF2-40B4-BE49-F238E27FC236}">
                <a16:creationId xmlns:a16="http://schemas.microsoft.com/office/drawing/2014/main" id="{BB280ADF-0214-4EAA-AC5F-FF22684CDADC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984" y="2495011"/>
            <a:ext cx="1302612" cy="444768"/>
          </a:xfrm>
          <a:prstGeom prst="rect">
            <a:avLst/>
          </a:prstGeom>
        </p:spPr>
      </p:pic>
      <p:pic>
        <p:nvPicPr>
          <p:cNvPr id="109" name="Рисунок 108" descr="Зображення, що містить знак&#10;&#10;Автоматично згенерований опис">
            <a:extLst>
              <a:ext uri="{FF2B5EF4-FFF2-40B4-BE49-F238E27FC236}">
                <a16:creationId xmlns:a16="http://schemas.microsoft.com/office/drawing/2014/main" id="{98633DB6-6289-4D07-B2A8-C499E2E2D5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4791" y="2281009"/>
            <a:ext cx="1262352" cy="812013"/>
          </a:xfrm>
          <a:prstGeom prst="rect">
            <a:avLst/>
          </a:prstGeom>
        </p:spPr>
      </p:pic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B412CF6E-3EB3-4E5B-8320-10F57798FB76}"/>
              </a:ext>
            </a:extLst>
          </p:cNvPr>
          <p:cNvGrpSpPr/>
          <p:nvPr/>
        </p:nvGrpSpPr>
        <p:grpSpPr>
          <a:xfrm>
            <a:off x="3174961" y="832103"/>
            <a:ext cx="1714664" cy="514399"/>
            <a:chOff x="3261196" y="777076"/>
            <a:chExt cx="1800000" cy="540000"/>
          </a:xfrm>
          <a:noFill/>
        </p:grpSpPr>
        <p:sp>
          <p:nvSpPr>
            <p:cNvPr id="90" name="Скругленный прямоугольник 131">
              <a:extLst>
                <a:ext uri="{FF2B5EF4-FFF2-40B4-BE49-F238E27FC236}">
                  <a16:creationId xmlns:a16="http://schemas.microsoft.com/office/drawing/2014/main" id="{203A0D93-9164-4058-8DFB-870FB24A0654}"/>
                </a:ext>
              </a:extLst>
            </p:cNvPr>
            <p:cNvSpPr/>
            <p:nvPr/>
          </p:nvSpPr>
          <p:spPr>
            <a:xfrm>
              <a:off x="3261196" y="777076"/>
              <a:ext cx="1800000" cy="540000"/>
            </a:xfrm>
            <a:prstGeom prst="roundRect">
              <a:avLst>
                <a:gd name="adj" fmla="val 0"/>
              </a:avLst>
            </a:prstGeom>
            <a:grpFill/>
            <a:ln w="222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715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110" name="Рисунок 109">
              <a:extLst>
                <a:ext uri="{FF2B5EF4-FFF2-40B4-BE49-F238E27FC236}">
                  <a16:creationId xmlns:a16="http://schemas.microsoft.com/office/drawing/2014/main" id="{8326F0A7-7E44-4247-B215-610AD2C28BF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336229" y="808351"/>
              <a:ext cx="1656354" cy="468000"/>
            </a:xfrm>
            <a:prstGeom prst="rect">
              <a:avLst/>
            </a:prstGeom>
            <a:grpFill/>
          </p:spPr>
        </p:pic>
      </p:grpSp>
      <p:pic>
        <p:nvPicPr>
          <p:cNvPr id="114" name="Рисунок 113">
            <a:extLst>
              <a:ext uri="{FF2B5EF4-FFF2-40B4-BE49-F238E27FC236}">
                <a16:creationId xmlns:a16="http://schemas.microsoft.com/office/drawing/2014/main" id="{19C6CA3F-22DD-487F-96BE-6818D039EB3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635" y="4159715"/>
            <a:ext cx="480106" cy="480106"/>
          </a:xfrm>
          <a:prstGeom prst="rect">
            <a:avLst/>
          </a:prstGeom>
          <a:effectLst/>
        </p:spPr>
      </p:pic>
      <p:cxnSp>
        <p:nvCxnSpPr>
          <p:cNvPr id="116" name="Прямая со стрелкой 115">
            <a:extLst>
              <a:ext uri="{FF2B5EF4-FFF2-40B4-BE49-F238E27FC236}">
                <a16:creationId xmlns:a16="http://schemas.microsoft.com/office/drawing/2014/main" id="{222BFC4E-3438-474F-9158-B13318CC4AF1}"/>
              </a:ext>
            </a:extLst>
          </p:cNvPr>
          <p:cNvCxnSpPr>
            <a:cxnSpLocks/>
            <a:endCxn id="90" idx="1"/>
          </p:cNvCxnSpPr>
          <p:nvPr/>
        </p:nvCxnSpPr>
        <p:spPr>
          <a:xfrm>
            <a:off x="2851070" y="1084801"/>
            <a:ext cx="323890" cy="0"/>
          </a:xfrm>
          <a:prstGeom prst="straightConnector1">
            <a:avLst/>
          </a:prstGeom>
          <a:ln w="22225">
            <a:solidFill>
              <a:schemeClr val="bg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Прямоугольник 146">
            <a:extLst>
              <a:ext uri="{FF2B5EF4-FFF2-40B4-BE49-F238E27FC236}">
                <a16:creationId xmlns:a16="http://schemas.microsoft.com/office/drawing/2014/main" id="{F7F8BD87-62F9-46A2-AE4F-EBFE858B5D71}"/>
              </a:ext>
            </a:extLst>
          </p:cNvPr>
          <p:cNvSpPr/>
          <p:nvPr/>
        </p:nvSpPr>
        <p:spPr>
          <a:xfrm>
            <a:off x="4526647" y="5966192"/>
            <a:ext cx="3242533" cy="3429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3" tIns="34293" rIns="34293" bIns="34293" rtlCol="0" anchor="ctr"/>
          <a:lstStyle/>
          <a:p>
            <a:pPr algn="ctr"/>
            <a:r>
              <a:rPr lang="uk-UA" sz="1715" b="1" dirty="0">
                <a:solidFill>
                  <a:srgbClr val="6633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ікропідприємства з деокупованих регіонів України</a:t>
            </a:r>
            <a:endParaRPr lang="ru-RU" sz="1715" b="1" dirty="0">
              <a:solidFill>
                <a:srgbClr val="6633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9" name="Рисунок 88">
            <a:extLst>
              <a:ext uri="{FF2B5EF4-FFF2-40B4-BE49-F238E27FC236}">
                <a16:creationId xmlns:a16="http://schemas.microsoft.com/office/drawing/2014/main" id="{8F5EA6C6-F9D5-4EDB-AFB1-B0D9687BC4B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9003" y="4321604"/>
            <a:ext cx="480106" cy="480106"/>
          </a:xfrm>
          <a:prstGeom prst="rect">
            <a:avLst/>
          </a:prstGeom>
          <a:effectLst/>
        </p:spPr>
      </p:pic>
      <p:pic>
        <p:nvPicPr>
          <p:cNvPr id="91" name="Рисунок 90">
            <a:extLst>
              <a:ext uri="{FF2B5EF4-FFF2-40B4-BE49-F238E27FC236}">
                <a16:creationId xmlns:a16="http://schemas.microsoft.com/office/drawing/2014/main" id="{8F5EA6C6-F9D5-4EDB-AFB1-B0D9687BC4B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170" y="4787698"/>
            <a:ext cx="480106" cy="480106"/>
          </a:xfrm>
          <a:prstGeom prst="rect">
            <a:avLst/>
          </a:prstGeom>
          <a:effectLst/>
        </p:spPr>
      </p:pic>
      <p:sp>
        <p:nvSpPr>
          <p:cNvPr id="87" name="Прямоугольник 145">
            <a:extLst>
              <a:ext uri="{FF2B5EF4-FFF2-40B4-BE49-F238E27FC236}">
                <a16:creationId xmlns:a16="http://schemas.microsoft.com/office/drawing/2014/main" id="{2EFD9EB2-765D-4518-89C1-AD605D64ED4B}"/>
              </a:ext>
            </a:extLst>
          </p:cNvPr>
          <p:cNvSpPr/>
          <p:nvPr/>
        </p:nvSpPr>
        <p:spPr>
          <a:xfrm>
            <a:off x="326983" y="5902733"/>
            <a:ext cx="3705310" cy="3429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3" tIns="34293" rIns="34293" bIns="34293" rtlCol="0" anchor="ctr"/>
          <a:lstStyle/>
          <a:p>
            <a:pPr algn="ctr"/>
            <a:r>
              <a:rPr lang="uk-UA" sz="1715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ікропідприємства з постраждалих </a:t>
            </a:r>
          </a:p>
          <a:p>
            <a:pPr algn="ctr"/>
            <a:r>
              <a:rPr lang="uk-UA" sz="1715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ід війни регіонів України</a:t>
            </a:r>
            <a:endParaRPr lang="ru-RU" sz="1715" b="1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3F8929F9-50A8-45D9-8520-43B466094B8B}"/>
              </a:ext>
            </a:extLst>
          </p:cNvPr>
          <p:cNvGrpSpPr/>
          <p:nvPr/>
        </p:nvGrpSpPr>
        <p:grpSpPr>
          <a:xfrm>
            <a:off x="5185327" y="2367802"/>
            <a:ext cx="2285914" cy="732498"/>
            <a:chOff x="5631876" y="2886957"/>
            <a:chExt cx="2160000" cy="720000"/>
          </a:xfrm>
          <a:noFill/>
        </p:grpSpPr>
        <p:sp>
          <p:nvSpPr>
            <p:cNvPr id="93" name="Скругленный прямоугольник 142">
              <a:extLst>
                <a:ext uri="{FF2B5EF4-FFF2-40B4-BE49-F238E27FC236}">
                  <a16:creationId xmlns:a16="http://schemas.microsoft.com/office/drawing/2014/main" id="{AD7FDDF6-AD8C-4D1A-A148-56DD8738EFEA}"/>
                </a:ext>
              </a:extLst>
            </p:cNvPr>
            <p:cNvSpPr/>
            <p:nvPr/>
          </p:nvSpPr>
          <p:spPr>
            <a:xfrm>
              <a:off x="5631876" y="2886957"/>
              <a:ext cx="2160000" cy="720000"/>
            </a:xfrm>
            <a:prstGeom prst="roundRect">
              <a:avLst>
                <a:gd name="adj" fmla="val 0"/>
              </a:avLst>
            </a:prstGeom>
            <a:grpFill/>
            <a:ln w="222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4293" tIns="0" rIns="34293" bIns="0" rtlCol="0" anchor="t"/>
            <a:lstStyle/>
            <a:p>
              <a:pPr algn="ctr"/>
              <a:r>
                <a:rPr lang="uk-UA" sz="1715" b="1" dirty="0">
                  <a:solidFill>
                    <a:schemeClr val="bg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Банк-партнер</a:t>
              </a:r>
              <a:endParaRPr lang="en-US" sz="171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3078" name="Picture 6" descr="Ощадбанк — Википедия">
              <a:extLst>
                <a:ext uri="{FF2B5EF4-FFF2-40B4-BE49-F238E27FC236}">
                  <a16:creationId xmlns:a16="http://schemas.microsoft.com/office/drawing/2014/main" id="{B09DFC9B-8248-4C36-BBE1-7EC2E04430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06836" y="3151910"/>
              <a:ext cx="810080" cy="405040"/>
            </a:xfrm>
            <a:prstGeom prst="rect">
              <a:avLst/>
            </a:prstGeom>
            <a:grpFill/>
            <a:extLst/>
          </p:spPr>
        </p:pic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C389247E-2FF6-443C-953C-84F7AF889C7B}"/>
              </a:ext>
            </a:extLst>
          </p:cNvPr>
          <p:cNvGrpSpPr/>
          <p:nvPr/>
        </p:nvGrpSpPr>
        <p:grpSpPr>
          <a:xfrm>
            <a:off x="4175252" y="1466676"/>
            <a:ext cx="2020150" cy="750460"/>
            <a:chOff x="4509817" y="1394195"/>
            <a:chExt cx="2160000" cy="769910"/>
          </a:xfrm>
          <a:noFill/>
        </p:grpSpPr>
        <p:sp>
          <p:nvSpPr>
            <p:cNvPr id="81" name="Скругленный прямоугольник 134">
              <a:extLst>
                <a:ext uri="{FF2B5EF4-FFF2-40B4-BE49-F238E27FC236}">
                  <a16:creationId xmlns:a16="http://schemas.microsoft.com/office/drawing/2014/main" id="{5DA13ECE-25B2-4007-8FDE-DDBE34A14671}"/>
                </a:ext>
              </a:extLst>
            </p:cNvPr>
            <p:cNvSpPr/>
            <p:nvPr/>
          </p:nvSpPr>
          <p:spPr>
            <a:xfrm>
              <a:off x="4509817" y="1444105"/>
              <a:ext cx="2160000" cy="720000"/>
            </a:xfrm>
            <a:prstGeom prst="roundRect">
              <a:avLst>
                <a:gd name="adj" fmla="val 0"/>
              </a:avLst>
            </a:prstGeom>
            <a:grpFill/>
            <a:ln w="222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715" dirty="0"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pic>
          <p:nvPicPr>
            <p:cNvPr id="79" name="Google Shape;21;p17">
              <a:extLst>
                <a:ext uri="{FF2B5EF4-FFF2-40B4-BE49-F238E27FC236}">
                  <a16:creationId xmlns:a16="http://schemas.microsoft.com/office/drawing/2014/main" id="{1826D5A5-2699-43FF-B478-6372EC30BAB5}"/>
                </a:ext>
              </a:extLst>
            </p:cNvPr>
            <p:cNvPicPr preferRelativeResize="0"/>
            <p:nvPr/>
          </p:nvPicPr>
          <p:blipFill rotWithShape="1">
            <a:blip r:embed="rId11">
              <a:alphaModFix/>
            </a:blip>
            <a:srcRect/>
            <a:stretch/>
          </p:blipFill>
          <p:spPr>
            <a:xfrm>
              <a:off x="5467832" y="1671191"/>
              <a:ext cx="922580" cy="473650"/>
            </a:xfrm>
            <a:prstGeom prst="rect">
              <a:avLst/>
            </a:prstGeom>
            <a:grpFill/>
            <a:ln>
              <a:noFill/>
            </a:ln>
          </p:spPr>
        </p:pic>
        <p:pic>
          <p:nvPicPr>
            <p:cNvPr id="80" name="Picture 2" descr="ДУ «Офіс з розвитку підприємництва та експорту»">
              <a:extLst>
                <a:ext uri="{FF2B5EF4-FFF2-40B4-BE49-F238E27FC236}">
                  <a16:creationId xmlns:a16="http://schemas.microsoft.com/office/drawing/2014/main" id="{D3EA6455-C112-4B04-A072-AEC968CC714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49127" y="1471275"/>
              <a:ext cx="996368" cy="309712"/>
            </a:xfrm>
            <a:prstGeom prst="rect">
              <a:avLst/>
            </a:prstGeom>
            <a:grpFill/>
            <a:extLst/>
          </p:spPr>
        </p:pic>
        <p:pic>
          <p:nvPicPr>
            <p:cNvPr id="82" name="Picture 4" descr="Виставки для підприємців">
              <a:extLst>
                <a:ext uri="{FF2B5EF4-FFF2-40B4-BE49-F238E27FC236}">
                  <a16:creationId xmlns:a16="http://schemas.microsoft.com/office/drawing/2014/main" id="{550F21BC-0935-4F61-AF76-DCA183490DB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63339" y="1394195"/>
              <a:ext cx="768620" cy="366010"/>
            </a:xfrm>
            <a:prstGeom prst="rect">
              <a:avLst/>
            </a:prstGeom>
            <a:grpFill/>
            <a:extLst/>
          </p:spPr>
        </p:pic>
      </p:grpSp>
      <p:sp>
        <p:nvSpPr>
          <p:cNvPr id="96" name="Freeform 2000">
            <a:extLst>
              <a:ext uri="{FF2B5EF4-FFF2-40B4-BE49-F238E27FC236}">
                <a16:creationId xmlns:a16="http://schemas.microsoft.com/office/drawing/2014/main" id="{F7C61E10-3A69-4544-ADDE-8FB1B88E7576}"/>
              </a:ext>
            </a:extLst>
          </p:cNvPr>
          <p:cNvSpPr>
            <a:spLocks noEditPoints="1"/>
          </p:cNvSpPr>
          <p:nvPr/>
        </p:nvSpPr>
        <p:spPr bwMode="auto">
          <a:xfrm>
            <a:off x="1790374" y="3693833"/>
            <a:ext cx="342933" cy="342933"/>
          </a:xfrm>
          <a:custGeom>
            <a:avLst/>
            <a:gdLst>
              <a:gd name="T0" fmla="*/ 126 w 252"/>
              <a:gd name="T1" fmla="*/ 242 h 252"/>
              <a:gd name="T2" fmla="*/ 126 w 252"/>
              <a:gd name="T3" fmla="*/ 0 h 252"/>
              <a:gd name="T4" fmla="*/ 252 w 252"/>
              <a:gd name="T5" fmla="*/ 126 h 252"/>
              <a:gd name="T6" fmla="*/ 217 w 252"/>
              <a:gd name="T7" fmla="*/ 116 h 252"/>
              <a:gd name="T8" fmla="*/ 220 w 252"/>
              <a:gd name="T9" fmla="*/ 102 h 252"/>
              <a:gd name="T10" fmla="*/ 205 w 252"/>
              <a:gd name="T11" fmla="*/ 89 h 252"/>
              <a:gd name="T12" fmla="*/ 168 w 252"/>
              <a:gd name="T13" fmla="*/ 96 h 252"/>
              <a:gd name="T14" fmla="*/ 130 w 252"/>
              <a:gd name="T15" fmla="*/ 82 h 252"/>
              <a:gd name="T16" fmla="*/ 33 w 252"/>
              <a:gd name="T17" fmla="*/ 127 h 252"/>
              <a:gd name="T18" fmla="*/ 34 w 252"/>
              <a:gd name="T19" fmla="*/ 141 h 252"/>
              <a:gd name="T20" fmla="*/ 47 w 252"/>
              <a:gd name="T21" fmla="*/ 153 h 252"/>
              <a:gd name="T22" fmla="*/ 34 w 252"/>
              <a:gd name="T23" fmla="*/ 166 h 252"/>
              <a:gd name="T24" fmla="*/ 109 w 252"/>
              <a:gd name="T25" fmla="*/ 191 h 252"/>
              <a:gd name="T26" fmla="*/ 205 w 252"/>
              <a:gd name="T27" fmla="*/ 179 h 252"/>
              <a:gd name="T28" fmla="*/ 168 w 252"/>
              <a:gd name="T29" fmla="*/ 186 h 252"/>
              <a:gd name="T30" fmla="*/ 130 w 252"/>
              <a:gd name="T31" fmla="*/ 172 h 252"/>
              <a:gd name="T32" fmla="*/ 107 w 252"/>
              <a:gd name="T33" fmla="*/ 183 h 252"/>
              <a:gd name="T34" fmla="*/ 106 w 252"/>
              <a:gd name="T35" fmla="*/ 173 h 252"/>
              <a:gd name="T36" fmla="*/ 131 w 252"/>
              <a:gd name="T37" fmla="*/ 163 h 252"/>
              <a:gd name="T38" fmla="*/ 205 w 252"/>
              <a:gd name="T39" fmla="*/ 154 h 252"/>
              <a:gd name="T40" fmla="*/ 137 w 252"/>
              <a:gd name="T41" fmla="*/ 161 h 252"/>
              <a:gd name="T42" fmla="*/ 130 w 252"/>
              <a:gd name="T43" fmla="*/ 154 h 252"/>
              <a:gd name="T44" fmla="*/ 68 w 252"/>
              <a:gd name="T45" fmla="*/ 152 h 252"/>
              <a:gd name="T46" fmla="*/ 58 w 252"/>
              <a:gd name="T47" fmla="*/ 139 h 252"/>
              <a:gd name="T48" fmla="*/ 110 w 252"/>
              <a:gd name="T49" fmla="*/ 156 h 252"/>
              <a:gd name="T50" fmla="*/ 204 w 252"/>
              <a:gd name="T51" fmla="*/ 146 h 252"/>
              <a:gd name="T52" fmla="*/ 217 w 252"/>
              <a:gd name="T53" fmla="*/ 133 h 252"/>
              <a:gd name="T54" fmla="*/ 220 w 252"/>
              <a:gd name="T55" fmla="*/ 119 h 252"/>
              <a:gd name="T56" fmla="*/ 203 w 252"/>
              <a:gd name="T57" fmla="*/ 95 h 252"/>
              <a:gd name="T58" fmla="*/ 168 w 252"/>
              <a:gd name="T59" fmla="*/ 114 h 252"/>
              <a:gd name="T60" fmla="*/ 130 w 252"/>
              <a:gd name="T61" fmla="*/ 100 h 252"/>
              <a:gd name="T62" fmla="*/ 168 w 252"/>
              <a:gd name="T63" fmla="*/ 121 h 252"/>
              <a:gd name="T64" fmla="*/ 205 w 252"/>
              <a:gd name="T65" fmla="*/ 120 h 252"/>
              <a:gd name="T66" fmla="*/ 201 w 252"/>
              <a:gd name="T67" fmla="*/ 124 h 252"/>
              <a:gd name="T68" fmla="*/ 139 w 252"/>
              <a:gd name="T69" fmla="*/ 127 h 252"/>
              <a:gd name="T70" fmla="*/ 133 w 252"/>
              <a:gd name="T71" fmla="*/ 113 h 252"/>
              <a:gd name="T72" fmla="*/ 84 w 252"/>
              <a:gd name="T73" fmla="*/ 128 h 252"/>
              <a:gd name="T74" fmla="*/ 116 w 252"/>
              <a:gd name="T75" fmla="*/ 125 h 252"/>
              <a:gd name="T76" fmla="*/ 205 w 252"/>
              <a:gd name="T77" fmla="*/ 137 h 252"/>
              <a:gd name="T78" fmla="*/ 204 w 252"/>
              <a:gd name="T79" fmla="*/ 139 h 252"/>
              <a:gd name="T80" fmla="*/ 202 w 252"/>
              <a:gd name="T81" fmla="*/ 141 h 252"/>
              <a:gd name="T82" fmla="*/ 168 w 252"/>
              <a:gd name="T83" fmla="*/ 150 h 252"/>
              <a:gd name="T84" fmla="*/ 136 w 252"/>
              <a:gd name="T85" fmla="*/ 143 h 252"/>
              <a:gd name="T86" fmla="*/ 131 w 252"/>
              <a:gd name="T87" fmla="*/ 138 h 252"/>
              <a:gd name="T88" fmla="*/ 168 w 252"/>
              <a:gd name="T89" fmla="*/ 139 h 252"/>
              <a:gd name="T90" fmla="*/ 205 w 252"/>
              <a:gd name="T91" fmla="*/ 120 h 252"/>
              <a:gd name="T92" fmla="*/ 205 w 252"/>
              <a:gd name="T93" fmla="*/ 120 h 252"/>
              <a:gd name="T94" fmla="*/ 199 w 252"/>
              <a:gd name="T95" fmla="*/ 78 h 252"/>
              <a:gd name="T96" fmla="*/ 130 w 252"/>
              <a:gd name="T97" fmla="*/ 7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52" h="252">
                <a:moveTo>
                  <a:pt x="126" y="10"/>
                </a:moveTo>
                <a:cubicBezTo>
                  <a:pt x="190" y="10"/>
                  <a:pt x="242" y="62"/>
                  <a:pt x="242" y="126"/>
                </a:cubicBezTo>
                <a:cubicBezTo>
                  <a:pt x="242" y="190"/>
                  <a:pt x="190" y="242"/>
                  <a:pt x="126" y="242"/>
                </a:cubicBezTo>
                <a:cubicBezTo>
                  <a:pt x="62" y="242"/>
                  <a:pt x="10" y="190"/>
                  <a:pt x="10" y="126"/>
                </a:cubicBezTo>
                <a:cubicBezTo>
                  <a:pt x="10" y="62"/>
                  <a:pt x="62" y="10"/>
                  <a:pt x="126" y="10"/>
                </a:cubicBezTo>
                <a:moveTo>
                  <a:pt x="126" y="0"/>
                </a:moveTo>
                <a:cubicBezTo>
                  <a:pt x="56" y="0"/>
                  <a:pt x="0" y="56"/>
                  <a:pt x="0" y="126"/>
                </a:cubicBezTo>
                <a:cubicBezTo>
                  <a:pt x="0" y="196"/>
                  <a:pt x="56" y="252"/>
                  <a:pt x="126" y="252"/>
                </a:cubicBezTo>
                <a:cubicBezTo>
                  <a:pt x="196" y="252"/>
                  <a:pt x="252" y="196"/>
                  <a:pt x="252" y="126"/>
                </a:cubicBezTo>
                <a:cubicBezTo>
                  <a:pt x="252" y="56"/>
                  <a:pt x="196" y="0"/>
                  <a:pt x="126" y="0"/>
                </a:cubicBezTo>
                <a:moveTo>
                  <a:pt x="220" y="119"/>
                </a:moveTo>
                <a:cubicBezTo>
                  <a:pt x="220" y="117"/>
                  <a:pt x="219" y="116"/>
                  <a:pt x="217" y="116"/>
                </a:cubicBezTo>
                <a:cubicBezTo>
                  <a:pt x="205" y="111"/>
                  <a:pt x="205" y="111"/>
                  <a:pt x="205" y="111"/>
                </a:cubicBezTo>
                <a:cubicBezTo>
                  <a:pt x="218" y="105"/>
                  <a:pt x="218" y="105"/>
                  <a:pt x="218" y="105"/>
                </a:cubicBezTo>
                <a:cubicBezTo>
                  <a:pt x="220" y="105"/>
                  <a:pt x="220" y="103"/>
                  <a:pt x="220" y="102"/>
                </a:cubicBezTo>
                <a:cubicBezTo>
                  <a:pt x="220" y="100"/>
                  <a:pt x="219" y="99"/>
                  <a:pt x="218" y="98"/>
                </a:cubicBezTo>
                <a:cubicBezTo>
                  <a:pt x="204" y="93"/>
                  <a:pt x="204" y="93"/>
                  <a:pt x="204" y="93"/>
                </a:cubicBezTo>
                <a:cubicBezTo>
                  <a:pt x="205" y="92"/>
                  <a:pt x="205" y="91"/>
                  <a:pt x="205" y="89"/>
                </a:cubicBezTo>
                <a:cubicBezTo>
                  <a:pt x="205" y="82"/>
                  <a:pt x="205" y="82"/>
                  <a:pt x="205" y="82"/>
                </a:cubicBezTo>
                <a:cubicBezTo>
                  <a:pt x="205" y="85"/>
                  <a:pt x="203" y="88"/>
                  <a:pt x="199" y="90"/>
                </a:cubicBezTo>
                <a:cubicBezTo>
                  <a:pt x="192" y="94"/>
                  <a:pt x="181" y="96"/>
                  <a:pt x="168" y="96"/>
                </a:cubicBezTo>
                <a:cubicBezTo>
                  <a:pt x="156" y="96"/>
                  <a:pt x="146" y="94"/>
                  <a:pt x="139" y="91"/>
                </a:cubicBezTo>
                <a:cubicBezTo>
                  <a:pt x="138" y="91"/>
                  <a:pt x="137" y="90"/>
                  <a:pt x="137" y="90"/>
                </a:cubicBezTo>
                <a:cubicBezTo>
                  <a:pt x="133" y="88"/>
                  <a:pt x="130" y="85"/>
                  <a:pt x="130" y="82"/>
                </a:cubicBezTo>
                <a:cubicBezTo>
                  <a:pt x="130" y="81"/>
                  <a:pt x="131" y="80"/>
                  <a:pt x="131" y="79"/>
                </a:cubicBezTo>
                <a:cubicBezTo>
                  <a:pt x="35" y="124"/>
                  <a:pt x="35" y="124"/>
                  <a:pt x="35" y="124"/>
                </a:cubicBezTo>
                <a:cubicBezTo>
                  <a:pt x="33" y="124"/>
                  <a:pt x="33" y="126"/>
                  <a:pt x="33" y="127"/>
                </a:cubicBezTo>
                <a:cubicBezTo>
                  <a:pt x="33" y="129"/>
                  <a:pt x="34" y="130"/>
                  <a:pt x="35" y="131"/>
                </a:cubicBezTo>
                <a:cubicBezTo>
                  <a:pt x="47" y="135"/>
                  <a:pt x="47" y="135"/>
                  <a:pt x="47" y="135"/>
                </a:cubicBezTo>
                <a:cubicBezTo>
                  <a:pt x="34" y="141"/>
                  <a:pt x="34" y="141"/>
                  <a:pt x="34" y="141"/>
                </a:cubicBezTo>
                <a:cubicBezTo>
                  <a:pt x="33" y="142"/>
                  <a:pt x="32" y="143"/>
                  <a:pt x="32" y="145"/>
                </a:cubicBezTo>
                <a:cubicBezTo>
                  <a:pt x="32" y="147"/>
                  <a:pt x="33" y="148"/>
                  <a:pt x="35" y="148"/>
                </a:cubicBezTo>
                <a:cubicBezTo>
                  <a:pt x="47" y="153"/>
                  <a:pt x="47" y="153"/>
                  <a:pt x="47" y="153"/>
                </a:cubicBezTo>
                <a:cubicBezTo>
                  <a:pt x="34" y="159"/>
                  <a:pt x="34" y="159"/>
                  <a:pt x="34" y="159"/>
                </a:cubicBezTo>
                <a:cubicBezTo>
                  <a:pt x="32" y="159"/>
                  <a:pt x="32" y="161"/>
                  <a:pt x="32" y="162"/>
                </a:cubicBezTo>
                <a:cubicBezTo>
                  <a:pt x="32" y="164"/>
                  <a:pt x="33" y="165"/>
                  <a:pt x="34" y="166"/>
                </a:cubicBezTo>
                <a:cubicBezTo>
                  <a:pt x="106" y="191"/>
                  <a:pt x="106" y="191"/>
                  <a:pt x="106" y="191"/>
                </a:cubicBezTo>
                <a:cubicBezTo>
                  <a:pt x="106" y="191"/>
                  <a:pt x="107" y="191"/>
                  <a:pt x="107" y="191"/>
                </a:cubicBezTo>
                <a:cubicBezTo>
                  <a:pt x="108" y="191"/>
                  <a:pt x="108" y="191"/>
                  <a:pt x="109" y="191"/>
                </a:cubicBezTo>
                <a:cubicBezTo>
                  <a:pt x="131" y="181"/>
                  <a:pt x="131" y="181"/>
                  <a:pt x="131" y="181"/>
                </a:cubicBezTo>
                <a:cubicBezTo>
                  <a:pt x="133" y="188"/>
                  <a:pt x="149" y="193"/>
                  <a:pt x="168" y="193"/>
                </a:cubicBezTo>
                <a:cubicBezTo>
                  <a:pt x="188" y="193"/>
                  <a:pt x="205" y="187"/>
                  <a:pt x="205" y="179"/>
                </a:cubicBezTo>
                <a:cubicBezTo>
                  <a:pt x="205" y="171"/>
                  <a:pt x="205" y="171"/>
                  <a:pt x="205" y="171"/>
                </a:cubicBezTo>
                <a:cubicBezTo>
                  <a:pt x="205" y="174"/>
                  <a:pt x="203" y="177"/>
                  <a:pt x="199" y="179"/>
                </a:cubicBezTo>
                <a:cubicBezTo>
                  <a:pt x="192" y="183"/>
                  <a:pt x="181" y="186"/>
                  <a:pt x="168" y="186"/>
                </a:cubicBezTo>
                <a:cubicBezTo>
                  <a:pt x="155" y="186"/>
                  <a:pt x="143" y="183"/>
                  <a:pt x="137" y="179"/>
                </a:cubicBezTo>
                <a:cubicBezTo>
                  <a:pt x="136" y="179"/>
                  <a:pt x="136" y="179"/>
                  <a:pt x="135" y="178"/>
                </a:cubicBezTo>
                <a:cubicBezTo>
                  <a:pt x="132" y="176"/>
                  <a:pt x="131" y="174"/>
                  <a:pt x="130" y="172"/>
                </a:cubicBezTo>
                <a:cubicBezTo>
                  <a:pt x="130" y="172"/>
                  <a:pt x="130" y="172"/>
                  <a:pt x="130" y="171"/>
                </a:cubicBezTo>
                <a:cubicBezTo>
                  <a:pt x="130" y="172"/>
                  <a:pt x="130" y="172"/>
                  <a:pt x="130" y="172"/>
                </a:cubicBezTo>
                <a:cubicBezTo>
                  <a:pt x="107" y="183"/>
                  <a:pt x="107" y="183"/>
                  <a:pt x="107" y="183"/>
                </a:cubicBezTo>
                <a:cubicBezTo>
                  <a:pt x="46" y="162"/>
                  <a:pt x="46" y="162"/>
                  <a:pt x="46" y="162"/>
                </a:cubicBezTo>
                <a:cubicBezTo>
                  <a:pt x="58" y="156"/>
                  <a:pt x="58" y="156"/>
                  <a:pt x="58" y="156"/>
                </a:cubicBezTo>
                <a:cubicBezTo>
                  <a:pt x="106" y="173"/>
                  <a:pt x="106" y="173"/>
                  <a:pt x="106" y="173"/>
                </a:cubicBezTo>
                <a:cubicBezTo>
                  <a:pt x="107" y="173"/>
                  <a:pt x="107" y="173"/>
                  <a:pt x="108" y="173"/>
                </a:cubicBezTo>
                <a:cubicBezTo>
                  <a:pt x="108" y="173"/>
                  <a:pt x="109" y="173"/>
                  <a:pt x="109" y="173"/>
                </a:cubicBezTo>
                <a:cubicBezTo>
                  <a:pt x="131" y="163"/>
                  <a:pt x="131" y="163"/>
                  <a:pt x="131" y="163"/>
                </a:cubicBezTo>
                <a:cubicBezTo>
                  <a:pt x="134" y="170"/>
                  <a:pt x="149" y="175"/>
                  <a:pt x="168" y="175"/>
                </a:cubicBezTo>
                <a:cubicBezTo>
                  <a:pt x="188" y="175"/>
                  <a:pt x="205" y="169"/>
                  <a:pt x="205" y="161"/>
                </a:cubicBezTo>
                <a:cubicBezTo>
                  <a:pt x="205" y="154"/>
                  <a:pt x="205" y="154"/>
                  <a:pt x="205" y="154"/>
                </a:cubicBezTo>
                <a:cubicBezTo>
                  <a:pt x="205" y="156"/>
                  <a:pt x="203" y="159"/>
                  <a:pt x="199" y="161"/>
                </a:cubicBezTo>
                <a:cubicBezTo>
                  <a:pt x="192" y="165"/>
                  <a:pt x="181" y="168"/>
                  <a:pt x="168" y="168"/>
                </a:cubicBezTo>
                <a:cubicBezTo>
                  <a:pt x="155" y="168"/>
                  <a:pt x="143" y="165"/>
                  <a:pt x="137" y="161"/>
                </a:cubicBezTo>
                <a:cubicBezTo>
                  <a:pt x="136" y="161"/>
                  <a:pt x="136" y="161"/>
                  <a:pt x="136" y="161"/>
                </a:cubicBezTo>
                <a:cubicBezTo>
                  <a:pt x="133" y="159"/>
                  <a:pt x="131" y="157"/>
                  <a:pt x="131" y="155"/>
                </a:cubicBezTo>
                <a:cubicBezTo>
                  <a:pt x="131" y="154"/>
                  <a:pt x="130" y="154"/>
                  <a:pt x="130" y="154"/>
                </a:cubicBezTo>
                <a:cubicBezTo>
                  <a:pt x="130" y="155"/>
                  <a:pt x="130" y="155"/>
                  <a:pt x="130" y="155"/>
                </a:cubicBezTo>
                <a:cubicBezTo>
                  <a:pt x="108" y="165"/>
                  <a:pt x="108" y="165"/>
                  <a:pt x="108" y="165"/>
                </a:cubicBezTo>
                <a:cubicBezTo>
                  <a:pt x="68" y="152"/>
                  <a:pt x="68" y="152"/>
                  <a:pt x="68" y="152"/>
                </a:cubicBezTo>
                <a:cubicBezTo>
                  <a:pt x="57" y="148"/>
                  <a:pt x="57" y="148"/>
                  <a:pt x="57" y="148"/>
                </a:cubicBezTo>
                <a:cubicBezTo>
                  <a:pt x="46" y="144"/>
                  <a:pt x="46" y="144"/>
                  <a:pt x="46" y="144"/>
                </a:cubicBezTo>
                <a:cubicBezTo>
                  <a:pt x="58" y="139"/>
                  <a:pt x="58" y="139"/>
                  <a:pt x="58" y="139"/>
                </a:cubicBezTo>
                <a:cubicBezTo>
                  <a:pt x="107" y="156"/>
                  <a:pt x="107" y="156"/>
                  <a:pt x="107" y="156"/>
                </a:cubicBezTo>
                <a:cubicBezTo>
                  <a:pt x="107" y="156"/>
                  <a:pt x="108" y="156"/>
                  <a:pt x="108" y="156"/>
                </a:cubicBezTo>
                <a:cubicBezTo>
                  <a:pt x="109" y="156"/>
                  <a:pt x="109" y="156"/>
                  <a:pt x="110" y="156"/>
                </a:cubicBezTo>
                <a:cubicBezTo>
                  <a:pt x="131" y="146"/>
                  <a:pt x="131" y="146"/>
                  <a:pt x="131" y="146"/>
                </a:cubicBezTo>
                <a:cubicBezTo>
                  <a:pt x="134" y="152"/>
                  <a:pt x="150" y="157"/>
                  <a:pt x="168" y="157"/>
                </a:cubicBezTo>
                <a:cubicBezTo>
                  <a:pt x="185" y="157"/>
                  <a:pt x="200" y="153"/>
                  <a:pt x="204" y="146"/>
                </a:cubicBezTo>
                <a:cubicBezTo>
                  <a:pt x="217" y="140"/>
                  <a:pt x="217" y="140"/>
                  <a:pt x="217" y="140"/>
                </a:cubicBezTo>
                <a:cubicBezTo>
                  <a:pt x="219" y="140"/>
                  <a:pt x="219" y="138"/>
                  <a:pt x="219" y="137"/>
                </a:cubicBezTo>
                <a:cubicBezTo>
                  <a:pt x="219" y="135"/>
                  <a:pt x="218" y="134"/>
                  <a:pt x="217" y="133"/>
                </a:cubicBezTo>
                <a:cubicBezTo>
                  <a:pt x="205" y="129"/>
                  <a:pt x="205" y="129"/>
                  <a:pt x="205" y="129"/>
                </a:cubicBezTo>
                <a:cubicBezTo>
                  <a:pt x="218" y="123"/>
                  <a:pt x="218" y="123"/>
                  <a:pt x="218" y="123"/>
                </a:cubicBezTo>
                <a:cubicBezTo>
                  <a:pt x="219" y="122"/>
                  <a:pt x="220" y="121"/>
                  <a:pt x="220" y="119"/>
                </a:cubicBezTo>
                <a:moveTo>
                  <a:pt x="133" y="95"/>
                </a:moveTo>
                <a:cubicBezTo>
                  <a:pt x="139" y="100"/>
                  <a:pt x="152" y="104"/>
                  <a:pt x="168" y="104"/>
                </a:cubicBezTo>
                <a:cubicBezTo>
                  <a:pt x="184" y="104"/>
                  <a:pt x="197" y="100"/>
                  <a:pt x="203" y="95"/>
                </a:cubicBezTo>
                <a:cubicBezTo>
                  <a:pt x="204" y="96"/>
                  <a:pt x="205" y="98"/>
                  <a:pt x="205" y="100"/>
                </a:cubicBezTo>
                <a:cubicBezTo>
                  <a:pt x="205" y="103"/>
                  <a:pt x="203" y="105"/>
                  <a:pt x="199" y="108"/>
                </a:cubicBezTo>
                <a:cubicBezTo>
                  <a:pt x="192" y="111"/>
                  <a:pt x="181" y="114"/>
                  <a:pt x="168" y="114"/>
                </a:cubicBezTo>
                <a:cubicBezTo>
                  <a:pt x="156" y="114"/>
                  <a:pt x="146" y="112"/>
                  <a:pt x="139" y="109"/>
                </a:cubicBezTo>
                <a:cubicBezTo>
                  <a:pt x="138" y="108"/>
                  <a:pt x="137" y="108"/>
                  <a:pt x="137" y="108"/>
                </a:cubicBezTo>
                <a:cubicBezTo>
                  <a:pt x="133" y="105"/>
                  <a:pt x="130" y="103"/>
                  <a:pt x="130" y="100"/>
                </a:cubicBezTo>
                <a:cubicBezTo>
                  <a:pt x="130" y="98"/>
                  <a:pt x="131" y="96"/>
                  <a:pt x="133" y="95"/>
                </a:cubicBezTo>
                <a:moveTo>
                  <a:pt x="133" y="113"/>
                </a:moveTo>
                <a:cubicBezTo>
                  <a:pt x="139" y="118"/>
                  <a:pt x="152" y="121"/>
                  <a:pt x="168" y="121"/>
                </a:cubicBezTo>
                <a:cubicBezTo>
                  <a:pt x="184" y="121"/>
                  <a:pt x="197" y="118"/>
                  <a:pt x="203" y="113"/>
                </a:cubicBezTo>
                <a:cubicBezTo>
                  <a:pt x="204" y="114"/>
                  <a:pt x="205" y="116"/>
                  <a:pt x="205" y="118"/>
                </a:cubicBezTo>
                <a:cubicBezTo>
                  <a:pt x="205" y="119"/>
                  <a:pt x="205" y="119"/>
                  <a:pt x="205" y="120"/>
                </a:cubicBezTo>
                <a:cubicBezTo>
                  <a:pt x="204" y="121"/>
                  <a:pt x="204" y="122"/>
                  <a:pt x="203" y="122"/>
                </a:cubicBezTo>
                <a:cubicBezTo>
                  <a:pt x="203" y="123"/>
                  <a:pt x="202" y="123"/>
                  <a:pt x="202" y="123"/>
                </a:cubicBezTo>
                <a:cubicBezTo>
                  <a:pt x="202" y="124"/>
                  <a:pt x="202" y="124"/>
                  <a:pt x="201" y="124"/>
                </a:cubicBezTo>
                <a:cubicBezTo>
                  <a:pt x="201" y="125"/>
                  <a:pt x="200" y="125"/>
                  <a:pt x="199" y="126"/>
                </a:cubicBezTo>
                <a:cubicBezTo>
                  <a:pt x="192" y="129"/>
                  <a:pt x="181" y="132"/>
                  <a:pt x="168" y="132"/>
                </a:cubicBezTo>
                <a:cubicBezTo>
                  <a:pt x="156" y="132"/>
                  <a:pt x="146" y="130"/>
                  <a:pt x="139" y="127"/>
                </a:cubicBezTo>
                <a:cubicBezTo>
                  <a:pt x="138" y="126"/>
                  <a:pt x="137" y="126"/>
                  <a:pt x="137" y="126"/>
                </a:cubicBezTo>
                <a:cubicBezTo>
                  <a:pt x="133" y="123"/>
                  <a:pt x="130" y="121"/>
                  <a:pt x="130" y="118"/>
                </a:cubicBezTo>
                <a:cubicBezTo>
                  <a:pt x="130" y="116"/>
                  <a:pt x="131" y="114"/>
                  <a:pt x="133" y="113"/>
                </a:cubicBezTo>
                <a:moveTo>
                  <a:pt x="113" y="128"/>
                </a:moveTo>
                <a:cubicBezTo>
                  <a:pt x="110" y="130"/>
                  <a:pt x="105" y="131"/>
                  <a:pt x="99" y="131"/>
                </a:cubicBezTo>
                <a:cubicBezTo>
                  <a:pt x="93" y="131"/>
                  <a:pt x="87" y="130"/>
                  <a:pt x="84" y="128"/>
                </a:cubicBezTo>
                <a:cubicBezTo>
                  <a:pt x="83" y="127"/>
                  <a:pt x="81" y="126"/>
                  <a:pt x="81" y="125"/>
                </a:cubicBezTo>
                <a:cubicBezTo>
                  <a:pt x="81" y="121"/>
                  <a:pt x="89" y="118"/>
                  <a:pt x="99" y="118"/>
                </a:cubicBezTo>
                <a:cubicBezTo>
                  <a:pt x="108" y="118"/>
                  <a:pt x="116" y="121"/>
                  <a:pt x="116" y="125"/>
                </a:cubicBezTo>
                <a:cubicBezTo>
                  <a:pt x="116" y="126"/>
                  <a:pt x="115" y="127"/>
                  <a:pt x="113" y="128"/>
                </a:cubicBezTo>
                <a:moveTo>
                  <a:pt x="205" y="136"/>
                </a:moveTo>
                <a:cubicBezTo>
                  <a:pt x="205" y="136"/>
                  <a:pt x="205" y="137"/>
                  <a:pt x="205" y="137"/>
                </a:cubicBezTo>
                <a:cubicBezTo>
                  <a:pt x="205" y="137"/>
                  <a:pt x="205" y="137"/>
                  <a:pt x="205" y="137"/>
                </a:cubicBezTo>
                <a:cubicBezTo>
                  <a:pt x="205" y="137"/>
                  <a:pt x="205" y="137"/>
                  <a:pt x="205" y="137"/>
                </a:cubicBezTo>
                <a:cubicBezTo>
                  <a:pt x="205" y="138"/>
                  <a:pt x="205" y="138"/>
                  <a:pt x="204" y="139"/>
                </a:cubicBezTo>
                <a:cubicBezTo>
                  <a:pt x="204" y="139"/>
                  <a:pt x="204" y="139"/>
                  <a:pt x="204" y="139"/>
                </a:cubicBezTo>
                <a:cubicBezTo>
                  <a:pt x="204" y="140"/>
                  <a:pt x="203" y="140"/>
                  <a:pt x="203" y="140"/>
                </a:cubicBezTo>
                <a:cubicBezTo>
                  <a:pt x="203" y="141"/>
                  <a:pt x="203" y="141"/>
                  <a:pt x="202" y="141"/>
                </a:cubicBezTo>
                <a:cubicBezTo>
                  <a:pt x="202" y="141"/>
                  <a:pt x="202" y="142"/>
                  <a:pt x="201" y="142"/>
                </a:cubicBezTo>
                <a:cubicBezTo>
                  <a:pt x="201" y="142"/>
                  <a:pt x="200" y="143"/>
                  <a:pt x="199" y="143"/>
                </a:cubicBezTo>
                <a:cubicBezTo>
                  <a:pt x="192" y="147"/>
                  <a:pt x="181" y="150"/>
                  <a:pt x="168" y="150"/>
                </a:cubicBezTo>
                <a:cubicBezTo>
                  <a:pt x="155" y="150"/>
                  <a:pt x="143" y="147"/>
                  <a:pt x="137" y="143"/>
                </a:cubicBezTo>
                <a:cubicBezTo>
                  <a:pt x="136" y="143"/>
                  <a:pt x="136" y="143"/>
                  <a:pt x="136" y="143"/>
                </a:cubicBezTo>
                <a:cubicBezTo>
                  <a:pt x="136" y="143"/>
                  <a:pt x="136" y="143"/>
                  <a:pt x="136" y="143"/>
                </a:cubicBezTo>
                <a:cubicBezTo>
                  <a:pt x="134" y="142"/>
                  <a:pt x="133" y="141"/>
                  <a:pt x="132" y="140"/>
                </a:cubicBezTo>
                <a:cubicBezTo>
                  <a:pt x="132" y="140"/>
                  <a:pt x="132" y="139"/>
                  <a:pt x="132" y="139"/>
                </a:cubicBezTo>
                <a:cubicBezTo>
                  <a:pt x="131" y="139"/>
                  <a:pt x="131" y="138"/>
                  <a:pt x="131" y="138"/>
                </a:cubicBezTo>
                <a:cubicBezTo>
                  <a:pt x="131" y="137"/>
                  <a:pt x="130" y="136"/>
                  <a:pt x="130" y="136"/>
                </a:cubicBezTo>
                <a:cubicBezTo>
                  <a:pt x="130" y="134"/>
                  <a:pt x="131" y="132"/>
                  <a:pt x="133" y="130"/>
                </a:cubicBezTo>
                <a:cubicBezTo>
                  <a:pt x="139" y="136"/>
                  <a:pt x="152" y="139"/>
                  <a:pt x="168" y="139"/>
                </a:cubicBezTo>
                <a:cubicBezTo>
                  <a:pt x="184" y="139"/>
                  <a:pt x="197" y="136"/>
                  <a:pt x="203" y="130"/>
                </a:cubicBezTo>
                <a:cubicBezTo>
                  <a:pt x="204" y="132"/>
                  <a:pt x="205" y="134"/>
                  <a:pt x="205" y="136"/>
                </a:cubicBezTo>
                <a:moveTo>
                  <a:pt x="205" y="120"/>
                </a:moveTo>
                <a:cubicBezTo>
                  <a:pt x="205" y="120"/>
                  <a:pt x="205" y="120"/>
                  <a:pt x="205" y="120"/>
                </a:cubicBezTo>
                <a:cubicBezTo>
                  <a:pt x="206" y="120"/>
                  <a:pt x="206" y="120"/>
                  <a:pt x="206" y="120"/>
                </a:cubicBezTo>
                <a:lnTo>
                  <a:pt x="205" y="120"/>
                </a:lnTo>
                <a:close/>
                <a:moveTo>
                  <a:pt x="137" y="78"/>
                </a:moveTo>
                <a:cubicBezTo>
                  <a:pt x="143" y="82"/>
                  <a:pt x="155" y="85"/>
                  <a:pt x="168" y="85"/>
                </a:cubicBezTo>
                <a:cubicBezTo>
                  <a:pt x="181" y="85"/>
                  <a:pt x="192" y="82"/>
                  <a:pt x="199" y="78"/>
                </a:cubicBezTo>
                <a:cubicBezTo>
                  <a:pt x="203" y="76"/>
                  <a:pt x="205" y="73"/>
                  <a:pt x="205" y="70"/>
                </a:cubicBezTo>
                <a:cubicBezTo>
                  <a:pt x="205" y="63"/>
                  <a:pt x="188" y="56"/>
                  <a:pt x="168" y="56"/>
                </a:cubicBezTo>
                <a:cubicBezTo>
                  <a:pt x="147" y="56"/>
                  <a:pt x="130" y="63"/>
                  <a:pt x="130" y="70"/>
                </a:cubicBezTo>
                <a:cubicBezTo>
                  <a:pt x="130" y="73"/>
                  <a:pt x="133" y="76"/>
                  <a:pt x="137" y="78"/>
                </a:cubicBezTo>
              </a:path>
            </a:pathLst>
          </a:custGeom>
          <a:solidFill>
            <a:schemeClr val="accent5">
              <a:lumMod val="50000"/>
            </a:schemeClr>
          </a:solidFill>
          <a:ln>
            <a:noFill/>
          </a:ln>
        </p:spPr>
        <p:txBody>
          <a:bodyPr vert="horz" wrap="square" lIns="76347" tIns="38174" rIns="76347" bIns="38174" numCol="1" anchor="t" anchorCtr="0" compatLnSpc="1">
            <a:prstTxWarp prst="textNoShape">
              <a:avLst/>
            </a:prstTxWarp>
          </a:bodyPr>
          <a:lstStyle/>
          <a:p>
            <a:endParaRPr lang="en-US" sz="1715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5" name="Прямоугольник 144">
            <a:extLst>
              <a:ext uri="{FF2B5EF4-FFF2-40B4-BE49-F238E27FC236}">
                <a16:creationId xmlns:a16="http://schemas.microsoft.com/office/drawing/2014/main" id="{0D5C76BC-282E-4511-8746-90060CD0CBF5}"/>
              </a:ext>
            </a:extLst>
          </p:cNvPr>
          <p:cNvSpPr/>
          <p:nvPr/>
        </p:nvSpPr>
        <p:spPr>
          <a:xfrm>
            <a:off x="1125933" y="3702767"/>
            <a:ext cx="727759" cy="3241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uk-UA" sz="1400" b="1" dirty="0">
                <a:solidFill>
                  <a:schemeClr val="accent5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іні-гранти</a:t>
            </a:r>
            <a:endParaRPr lang="ru-RU" sz="1400" b="1" dirty="0">
              <a:solidFill>
                <a:schemeClr val="accent5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7" name="Рисунок 96">
            <a:extLst>
              <a:ext uri="{FF2B5EF4-FFF2-40B4-BE49-F238E27FC236}">
                <a16:creationId xmlns:a16="http://schemas.microsoft.com/office/drawing/2014/main" id="{8F5EA6C6-F9D5-4EDB-AFB1-B0D9687BC4BD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4971" y="3854031"/>
            <a:ext cx="480106" cy="480106"/>
          </a:xfrm>
          <a:prstGeom prst="rect">
            <a:avLst/>
          </a:prstGeom>
          <a:effectLst/>
        </p:spPr>
      </p:pic>
      <p:cxnSp>
        <p:nvCxnSpPr>
          <p:cNvPr id="21" name="Соединитель: уступ 20">
            <a:extLst>
              <a:ext uri="{FF2B5EF4-FFF2-40B4-BE49-F238E27FC236}">
                <a16:creationId xmlns:a16="http://schemas.microsoft.com/office/drawing/2014/main" id="{4CF07EFD-A824-42AE-B7E1-FE94A268D06B}"/>
              </a:ext>
            </a:extLst>
          </p:cNvPr>
          <p:cNvCxnSpPr>
            <a:cxnSpLocks/>
            <a:stCxn id="90" idx="3"/>
            <a:endCxn id="81" idx="0"/>
          </p:cNvCxnSpPr>
          <p:nvPr/>
        </p:nvCxnSpPr>
        <p:spPr>
          <a:xfrm>
            <a:off x="4889625" y="1089303"/>
            <a:ext cx="295702" cy="426022"/>
          </a:xfrm>
          <a:prstGeom prst="bentConnector2">
            <a:avLst/>
          </a:prstGeom>
          <a:ln w="22225">
            <a:solidFill>
              <a:schemeClr val="bg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9" name="Соединитель: уступ 318">
            <a:extLst>
              <a:ext uri="{FF2B5EF4-FFF2-40B4-BE49-F238E27FC236}">
                <a16:creationId xmlns:a16="http://schemas.microsoft.com/office/drawing/2014/main" id="{65769828-AE7B-4600-B209-8B850B6F3C4B}"/>
              </a:ext>
            </a:extLst>
          </p:cNvPr>
          <p:cNvCxnSpPr>
            <a:cxnSpLocks/>
            <a:stCxn id="81" idx="3"/>
            <a:endCxn id="93" idx="0"/>
          </p:cNvCxnSpPr>
          <p:nvPr/>
        </p:nvCxnSpPr>
        <p:spPr>
          <a:xfrm>
            <a:off x="6195402" y="1866231"/>
            <a:ext cx="132882" cy="501571"/>
          </a:xfrm>
          <a:prstGeom prst="bentConnector2">
            <a:avLst/>
          </a:prstGeom>
          <a:ln w="22225">
            <a:solidFill>
              <a:schemeClr val="bg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Соединитель: уступ 320">
            <a:extLst>
              <a:ext uri="{FF2B5EF4-FFF2-40B4-BE49-F238E27FC236}">
                <a16:creationId xmlns:a16="http://schemas.microsoft.com/office/drawing/2014/main" id="{7A4E7C7B-8A47-4058-80C1-8D804F6C8B72}"/>
              </a:ext>
            </a:extLst>
          </p:cNvPr>
          <p:cNvCxnSpPr>
            <a:cxnSpLocks/>
          </p:cNvCxnSpPr>
          <p:nvPr/>
        </p:nvCxnSpPr>
        <p:spPr>
          <a:xfrm rot="5400000">
            <a:off x="3663043" y="1442975"/>
            <a:ext cx="501160" cy="3909433"/>
          </a:xfrm>
          <a:prstGeom prst="bentConnector3">
            <a:avLst>
              <a:gd name="adj1" fmla="val 50000"/>
            </a:avLst>
          </a:prstGeom>
          <a:ln w="22225">
            <a:solidFill>
              <a:schemeClr val="tx1"/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2" name="Рисунок 321">
            <a:extLst>
              <a:ext uri="{FF2B5EF4-FFF2-40B4-BE49-F238E27FC236}">
                <a16:creationId xmlns:a16="http://schemas.microsoft.com/office/drawing/2014/main" id="{09475B11-E445-404F-9F1C-A1C9F169C93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7143" y="4399768"/>
            <a:ext cx="480106" cy="480106"/>
          </a:xfrm>
          <a:prstGeom prst="rect">
            <a:avLst/>
          </a:prstGeom>
          <a:effectLst/>
        </p:spPr>
      </p:pic>
      <p:cxnSp>
        <p:nvCxnSpPr>
          <p:cNvPr id="325" name="Прямая со стрелкой 324">
            <a:extLst>
              <a:ext uri="{FF2B5EF4-FFF2-40B4-BE49-F238E27FC236}">
                <a16:creationId xmlns:a16="http://schemas.microsoft.com/office/drawing/2014/main" id="{30F7E72F-75C0-4D67-9717-078E9E4DC8B6}"/>
              </a:ext>
            </a:extLst>
          </p:cNvPr>
          <p:cNvCxnSpPr>
            <a:cxnSpLocks/>
          </p:cNvCxnSpPr>
          <p:nvPr/>
        </p:nvCxnSpPr>
        <p:spPr>
          <a:xfrm rot="5400000">
            <a:off x="6202390" y="3385914"/>
            <a:ext cx="480106" cy="0"/>
          </a:xfrm>
          <a:prstGeom prst="straightConnector1">
            <a:avLst/>
          </a:prstGeom>
          <a:ln w="22225">
            <a:solidFill>
              <a:srgbClr val="996633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Прямоугольник 147">
            <a:extLst>
              <a:ext uri="{FF2B5EF4-FFF2-40B4-BE49-F238E27FC236}">
                <a16:creationId xmlns:a16="http://schemas.microsoft.com/office/drawing/2014/main" id="{2A2B16AB-B6D6-4139-9630-33F99BDD2A77}"/>
              </a:ext>
            </a:extLst>
          </p:cNvPr>
          <p:cNvSpPr/>
          <p:nvPr/>
        </p:nvSpPr>
        <p:spPr>
          <a:xfrm>
            <a:off x="8876946" y="5966191"/>
            <a:ext cx="2923574" cy="3429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3" tIns="34293" rIns="34293" bIns="34293" rtlCol="0" anchor="ctr"/>
          <a:lstStyle/>
          <a:p>
            <a:pPr algn="ctr"/>
            <a:r>
              <a:rPr lang="uk-UA" sz="1715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ікропідприємства з усіх регіонів України</a:t>
            </a:r>
            <a:endParaRPr lang="ru-RU" sz="1715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26" name="Рисунок 325">
            <a:extLst>
              <a:ext uri="{FF2B5EF4-FFF2-40B4-BE49-F238E27FC236}">
                <a16:creationId xmlns:a16="http://schemas.microsoft.com/office/drawing/2014/main" id="{32F1C275-F2C4-41CC-9F72-907955C06AA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6946" y="4476449"/>
            <a:ext cx="480106" cy="480106"/>
          </a:xfrm>
          <a:prstGeom prst="rect">
            <a:avLst/>
          </a:prstGeom>
          <a:effectLst/>
        </p:spPr>
      </p:pic>
      <p:pic>
        <p:nvPicPr>
          <p:cNvPr id="327" name="Рисунок 326">
            <a:extLst>
              <a:ext uri="{FF2B5EF4-FFF2-40B4-BE49-F238E27FC236}">
                <a16:creationId xmlns:a16="http://schemas.microsoft.com/office/drawing/2014/main" id="{49F72969-4EF5-41AA-9C09-F54946C71B62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616" y="4734884"/>
            <a:ext cx="480106" cy="480106"/>
          </a:xfrm>
          <a:prstGeom prst="rect">
            <a:avLst/>
          </a:prstGeom>
          <a:effectLst/>
        </p:spPr>
      </p:pic>
      <p:cxnSp>
        <p:nvCxnSpPr>
          <p:cNvPr id="328" name="Соединитель: уступ 327">
            <a:extLst>
              <a:ext uri="{FF2B5EF4-FFF2-40B4-BE49-F238E27FC236}">
                <a16:creationId xmlns:a16="http://schemas.microsoft.com/office/drawing/2014/main" id="{3A393A03-EDB8-4977-8169-E63A1CCB24FD}"/>
              </a:ext>
            </a:extLst>
          </p:cNvPr>
          <p:cNvCxnSpPr>
            <a:cxnSpLocks/>
          </p:cNvCxnSpPr>
          <p:nvPr/>
        </p:nvCxnSpPr>
        <p:spPr>
          <a:xfrm rot="16200000" flipH="1">
            <a:off x="8356529" y="1807128"/>
            <a:ext cx="509310" cy="3189275"/>
          </a:xfrm>
          <a:prstGeom prst="bentConnector3">
            <a:avLst>
              <a:gd name="adj1" fmla="val 46113"/>
            </a:avLst>
          </a:prstGeom>
          <a:ln w="22225">
            <a:solidFill>
              <a:schemeClr val="accent6">
                <a:lumMod val="75000"/>
              </a:schemeClr>
            </a:solidFill>
            <a:headEnd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9" name="Freeform 2000">
            <a:extLst>
              <a:ext uri="{FF2B5EF4-FFF2-40B4-BE49-F238E27FC236}">
                <a16:creationId xmlns:a16="http://schemas.microsoft.com/office/drawing/2014/main" id="{EBA4669B-973D-4657-949C-1812276D4C17}"/>
              </a:ext>
            </a:extLst>
          </p:cNvPr>
          <p:cNvSpPr>
            <a:spLocks noEditPoints="1"/>
          </p:cNvSpPr>
          <p:nvPr/>
        </p:nvSpPr>
        <p:spPr bwMode="auto">
          <a:xfrm>
            <a:off x="6270977" y="3693350"/>
            <a:ext cx="342933" cy="342933"/>
          </a:xfrm>
          <a:custGeom>
            <a:avLst/>
            <a:gdLst>
              <a:gd name="T0" fmla="*/ 126 w 252"/>
              <a:gd name="T1" fmla="*/ 242 h 252"/>
              <a:gd name="T2" fmla="*/ 126 w 252"/>
              <a:gd name="T3" fmla="*/ 0 h 252"/>
              <a:gd name="T4" fmla="*/ 252 w 252"/>
              <a:gd name="T5" fmla="*/ 126 h 252"/>
              <a:gd name="T6" fmla="*/ 217 w 252"/>
              <a:gd name="T7" fmla="*/ 116 h 252"/>
              <a:gd name="T8" fmla="*/ 220 w 252"/>
              <a:gd name="T9" fmla="*/ 102 h 252"/>
              <a:gd name="T10" fmla="*/ 205 w 252"/>
              <a:gd name="T11" fmla="*/ 89 h 252"/>
              <a:gd name="T12" fmla="*/ 168 w 252"/>
              <a:gd name="T13" fmla="*/ 96 h 252"/>
              <a:gd name="T14" fmla="*/ 130 w 252"/>
              <a:gd name="T15" fmla="*/ 82 h 252"/>
              <a:gd name="T16" fmla="*/ 33 w 252"/>
              <a:gd name="T17" fmla="*/ 127 h 252"/>
              <a:gd name="T18" fmla="*/ 34 w 252"/>
              <a:gd name="T19" fmla="*/ 141 h 252"/>
              <a:gd name="T20" fmla="*/ 47 w 252"/>
              <a:gd name="T21" fmla="*/ 153 h 252"/>
              <a:gd name="T22" fmla="*/ 34 w 252"/>
              <a:gd name="T23" fmla="*/ 166 h 252"/>
              <a:gd name="T24" fmla="*/ 109 w 252"/>
              <a:gd name="T25" fmla="*/ 191 h 252"/>
              <a:gd name="T26" fmla="*/ 205 w 252"/>
              <a:gd name="T27" fmla="*/ 179 h 252"/>
              <a:gd name="T28" fmla="*/ 168 w 252"/>
              <a:gd name="T29" fmla="*/ 186 h 252"/>
              <a:gd name="T30" fmla="*/ 130 w 252"/>
              <a:gd name="T31" fmla="*/ 172 h 252"/>
              <a:gd name="T32" fmla="*/ 107 w 252"/>
              <a:gd name="T33" fmla="*/ 183 h 252"/>
              <a:gd name="T34" fmla="*/ 106 w 252"/>
              <a:gd name="T35" fmla="*/ 173 h 252"/>
              <a:gd name="T36" fmla="*/ 131 w 252"/>
              <a:gd name="T37" fmla="*/ 163 h 252"/>
              <a:gd name="T38" fmla="*/ 205 w 252"/>
              <a:gd name="T39" fmla="*/ 154 h 252"/>
              <a:gd name="T40" fmla="*/ 137 w 252"/>
              <a:gd name="T41" fmla="*/ 161 h 252"/>
              <a:gd name="T42" fmla="*/ 130 w 252"/>
              <a:gd name="T43" fmla="*/ 154 h 252"/>
              <a:gd name="T44" fmla="*/ 68 w 252"/>
              <a:gd name="T45" fmla="*/ 152 h 252"/>
              <a:gd name="T46" fmla="*/ 58 w 252"/>
              <a:gd name="T47" fmla="*/ 139 h 252"/>
              <a:gd name="T48" fmla="*/ 110 w 252"/>
              <a:gd name="T49" fmla="*/ 156 h 252"/>
              <a:gd name="T50" fmla="*/ 204 w 252"/>
              <a:gd name="T51" fmla="*/ 146 h 252"/>
              <a:gd name="T52" fmla="*/ 217 w 252"/>
              <a:gd name="T53" fmla="*/ 133 h 252"/>
              <a:gd name="T54" fmla="*/ 220 w 252"/>
              <a:gd name="T55" fmla="*/ 119 h 252"/>
              <a:gd name="T56" fmla="*/ 203 w 252"/>
              <a:gd name="T57" fmla="*/ 95 h 252"/>
              <a:gd name="T58" fmla="*/ 168 w 252"/>
              <a:gd name="T59" fmla="*/ 114 h 252"/>
              <a:gd name="T60" fmla="*/ 130 w 252"/>
              <a:gd name="T61" fmla="*/ 100 h 252"/>
              <a:gd name="T62" fmla="*/ 168 w 252"/>
              <a:gd name="T63" fmla="*/ 121 h 252"/>
              <a:gd name="T64" fmla="*/ 205 w 252"/>
              <a:gd name="T65" fmla="*/ 120 h 252"/>
              <a:gd name="T66" fmla="*/ 201 w 252"/>
              <a:gd name="T67" fmla="*/ 124 h 252"/>
              <a:gd name="T68" fmla="*/ 139 w 252"/>
              <a:gd name="T69" fmla="*/ 127 h 252"/>
              <a:gd name="T70" fmla="*/ 133 w 252"/>
              <a:gd name="T71" fmla="*/ 113 h 252"/>
              <a:gd name="T72" fmla="*/ 84 w 252"/>
              <a:gd name="T73" fmla="*/ 128 h 252"/>
              <a:gd name="T74" fmla="*/ 116 w 252"/>
              <a:gd name="T75" fmla="*/ 125 h 252"/>
              <a:gd name="T76" fmla="*/ 205 w 252"/>
              <a:gd name="T77" fmla="*/ 137 h 252"/>
              <a:gd name="T78" fmla="*/ 204 w 252"/>
              <a:gd name="T79" fmla="*/ 139 h 252"/>
              <a:gd name="T80" fmla="*/ 202 w 252"/>
              <a:gd name="T81" fmla="*/ 141 h 252"/>
              <a:gd name="T82" fmla="*/ 168 w 252"/>
              <a:gd name="T83" fmla="*/ 150 h 252"/>
              <a:gd name="T84" fmla="*/ 136 w 252"/>
              <a:gd name="T85" fmla="*/ 143 h 252"/>
              <a:gd name="T86" fmla="*/ 131 w 252"/>
              <a:gd name="T87" fmla="*/ 138 h 252"/>
              <a:gd name="T88" fmla="*/ 168 w 252"/>
              <a:gd name="T89" fmla="*/ 139 h 252"/>
              <a:gd name="T90" fmla="*/ 205 w 252"/>
              <a:gd name="T91" fmla="*/ 120 h 252"/>
              <a:gd name="T92" fmla="*/ 205 w 252"/>
              <a:gd name="T93" fmla="*/ 120 h 252"/>
              <a:gd name="T94" fmla="*/ 199 w 252"/>
              <a:gd name="T95" fmla="*/ 78 h 252"/>
              <a:gd name="T96" fmla="*/ 130 w 252"/>
              <a:gd name="T97" fmla="*/ 7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52" h="252">
                <a:moveTo>
                  <a:pt x="126" y="10"/>
                </a:moveTo>
                <a:cubicBezTo>
                  <a:pt x="190" y="10"/>
                  <a:pt x="242" y="62"/>
                  <a:pt x="242" y="126"/>
                </a:cubicBezTo>
                <a:cubicBezTo>
                  <a:pt x="242" y="190"/>
                  <a:pt x="190" y="242"/>
                  <a:pt x="126" y="242"/>
                </a:cubicBezTo>
                <a:cubicBezTo>
                  <a:pt x="62" y="242"/>
                  <a:pt x="10" y="190"/>
                  <a:pt x="10" y="126"/>
                </a:cubicBezTo>
                <a:cubicBezTo>
                  <a:pt x="10" y="62"/>
                  <a:pt x="62" y="10"/>
                  <a:pt x="126" y="10"/>
                </a:cubicBezTo>
                <a:moveTo>
                  <a:pt x="126" y="0"/>
                </a:moveTo>
                <a:cubicBezTo>
                  <a:pt x="56" y="0"/>
                  <a:pt x="0" y="56"/>
                  <a:pt x="0" y="126"/>
                </a:cubicBezTo>
                <a:cubicBezTo>
                  <a:pt x="0" y="196"/>
                  <a:pt x="56" y="252"/>
                  <a:pt x="126" y="252"/>
                </a:cubicBezTo>
                <a:cubicBezTo>
                  <a:pt x="196" y="252"/>
                  <a:pt x="252" y="196"/>
                  <a:pt x="252" y="126"/>
                </a:cubicBezTo>
                <a:cubicBezTo>
                  <a:pt x="252" y="56"/>
                  <a:pt x="196" y="0"/>
                  <a:pt x="126" y="0"/>
                </a:cubicBezTo>
                <a:moveTo>
                  <a:pt x="220" y="119"/>
                </a:moveTo>
                <a:cubicBezTo>
                  <a:pt x="220" y="117"/>
                  <a:pt x="219" y="116"/>
                  <a:pt x="217" y="116"/>
                </a:cubicBezTo>
                <a:cubicBezTo>
                  <a:pt x="205" y="111"/>
                  <a:pt x="205" y="111"/>
                  <a:pt x="205" y="111"/>
                </a:cubicBezTo>
                <a:cubicBezTo>
                  <a:pt x="218" y="105"/>
                  <a:pt x="218" y="105"/>
                  <a:pt x="218" y="105"/>
                </a:cubicBezTo>
                <a:cubicBezTo>
                  <a:pt x="220" y="105"/>
                  <a:pt x="220" y="103"/>
                  <a:pt x="220" y="102"/>
                </a:cubicBezTo>
                <a:cubicBezTo>
                  <a:pt x="220" y="100"/>
                  <a:pt x="219" y="99"/>
                  <a:pt x="218" y="98"/>
                </a:cubicBezTo>
                <a:cubicBezTo>
                  <a:pt x="204" y="93"/>
                  <a:pt x="204" y="93"/>
                  <a:pt x="204" y="93"/>
                </a:cubicBezTo>
                <a:cubicBezTo>
                  <a:pt x="205" y="92"/>
                  <a:pt x="205" y="91"/>
                  <a:pt x="205" y="89"/>
                </a:cubicBezTo>
                <a:cubicBezTo>
                  <a:pt x="205" y="82"/>
                  <a:pt x="205" y="82"/>
                  <a:pt x="205" y="82"/>
                </a:cubicBezTo>
                <a:cubicBezTo>
                  <a:pt x="205" y="85"/>
                  <a:pt x="203" y="88"/>
                  <a:pt x="199" y="90"/>
                </a:cubicBezTo>
                <a:cubicBezTo>
                  <a:pt x="192" y="94"/>
                  <a:pt x="181" y="96"/>
                  <a:pt x="168" y="96"/>
                </a:cubicBezTo>
                <a:cubicBezTo>
                  <a:pt x="156" y="96"/>
                  <a:pt x="146" y="94"/>
                  <a:pt x="139" y="91"/>
                </a:cubicBezTo>
                <a:cubicBezTo>
                  <a:pt x="138" y="91"/>
                  <a:pt x="137" y="90"/>
                  <a:pt x="137" y="90"/>
                </a:cubicBezTo>
                <a:cubicBezTo>
                  <a:pt x="133" y="88"/>
                  <a:pt x="130" y="85"/>
                  <a:pt x="130" y="82"/>
                </a:cubicBezTo>
                <a:cubicBezTo>
                  <a:pt x="130" y="81"/>
                  <a:pt x="131" y="80"/>
                  <a:pt x="131" y="79"/>
                </a:cubicBezTo>
                <a:cubicBezTo>
                  <a:pt x="35" y="124"/>
                  <a:pt x="35" y="124"/>
                  <a:pt x="35" y="124"/>
                </a:cubicBezTo>
                <a:cubicBezTo>
                  <a:pt x="33" y="124"/>
                  <a:pt x="33" y="126"/>
                  <a:pt x="33" y="127"/>
                </a:cubicBezTo>
                <a:cubicBezTo>
                  <a:pt x="33" y="129"/>
                  <a:pt x="34" y="130"/>
                  <a:pt x="35" y="131"/>
                </a:cubicBezTo>
                <a:cubicBezTo>
                  <a:pt x="47" y="135"/>
                  <a:pt x="47" y="135"/>
                  <a:pt x="47" y="135"/>
                </a:cubicBezTo>
                <a:cubicBezTo>
                  <a:pt x="34" y="141"/>
                  <a:pt x="34" y="141"/>
                  <a:pt x="34" y="141"/>
                </a:cubicBezTo>
                <a:cubicBezTo>
                  <a:pt x="33" y="142"/>
                  <a:pt x="32" y="143"/>
                  <a:pt x="32" y="145"/>
                </a:cubicBezTo>
                <a:cubicBezTo>
                  <a:pt x="32" y="147"/>
                  <a:pt x="33" y="148"/>
                  <a:pt x="35" y="148"/>
                </a:cubicBezTo>
                <a:cubicBezTo>
                  <a:pt x="47" y="153"/>
                  <a:pt x="47" y="153"/>
                  <a:pt x="47" y="153"/>
                </a:cubicBezTo>
                <a:cubicBezTo>
                  <a:pt x="34" y="159"/>
                  <a:pt x="34" y="159"/>
                  <a:pt x="34" y="159"/>
                </a:cubicBezTo>
                <a:cubicBezTo>
                  <a:pt x="32" y="159"/>
                  <a:pt x="32" y="161"/>
                  <a:pt x="32" y="162"/>
                </a:cubicBezTo>
                <a:cubicBezTo>
                  <a:pt x="32" y="164"/>
                  <a:pt x="33" y="165"/>
                  <a:pt x="34" y="166"/>
                </a:cubicBezTo>
                <a:cubicBezTo>
                  <a:pt x="106" y="191"/>
                  <a:pt x="106" y="191"/>
                  <a:pt x="106" y="191"/>
                </a:cubicBezTo>
                <a:cubicBezTo>
                  <a:pt x="106" y="191"/>
                  <a:pt x="107" y="191"/>
                  <a:pt x="107" y="191"/>
                </a:cubicBezTo>
                <a:cubicBezTo>
                  <a:pt x="108" y="191"/>
                  <a:pt x="108" y="191"/>
                  <a:pt x="109" y="191"/>
                </a:cubicBezTo>
                <a:cubicBezTo>
                  <a:pt x="131" y="181"/>
                  <a:pt x="131" y="181"/>
                  <a:pt x="131" y="181"/>
                </a:cubicBezTo>
                <a:cubicBezTo>
                  <a:pt x="133" y="188"/>
                  <a:pt x="149" y="193"/>
                  <a:pt x="168" y="193"/>
                </a:cubicBezTo>
                <a:cubicBezTo>
                  <a:pt x="188" y="193"/>
                  <a:pt x="205" y="187"/>
                  <a:pt x="205" y="179"/>
                </a:cubicBezTo>
                <a:cubicBezTo>
                  <a:pt x="205" y="171"/>
                  <a:pt x="205" y="171"/>
                  <a:pt x="205" y="171"/>
                </a:cubicBezTo>
                <a:cubicBezTo>
                  <a:pt x="205" y="174"/>
                  <a:pt x="203" y="177"/>
                  <a:pt x="199" y="179"/>
                </a:cubicBezTo>
                <a:cubicBezTo>
                  <a:pt x="192" y="183"/>
                  <a:pt x="181" y="186"/>
                  <a:pt x="168" y="186"/>
                </a:cubicBezTo>
                <a:cubicBezTo>
                  <a:pt x="155" y="186"/>
                  <a:pt x="143" y="183"/>
                  <a:pt x="137" y="179"/>
                </a:cubicBezTo>
                <a:cubicBezTo>
                  <a:pt x="136" y="179"/>
                  <a:pt x="136" y="179"/>
                  <a:pt x="135" y="178"/>
                </a:cubicBezTo>
                <a:cubicBezTo>
                  <a:pt x="132" y="176"/>
                  <a:pt x="131" y="174"/>
                  <a:pt x="130" y="172"/>
                </a:cubicBezTo>
                <a:cubicBezTo>
                  <a:pt x="130" y="172"/>
                  <a:pt x="130" y="172"/>
                  <a:pt x="130" y="171"/>
                </a:cubicBezTo>
                <a:cubicBezTo>
                  <a:pt x="130" y="172"/>
                  <a:pt x="130" y="172"/>
                  <a:pt x="130" y="172"/>
                </a:cubicBezTo>
                <a:cubicBezTo>
                  <a:pt x="107" y="183"/>
                  <a:pt x="107" y="183"/>
                  <a:pt x="107" y="183"/>
                </a:cubicBezTo>
                <a:cubicBezTo>
                  <a:pt x="46" y="162"/>
                  <a:pt x="46" y="162"/>
                  <a:pt x="46" y="162"/>
                </a:cubicBezTo>
                <a:cubicBezTo>
                  <a:pt x="58" y="156"/>
                  <a:pt x="58" y="156"/>
                  <a:pt x="58" y="156"/>
                </a:cubicBezTo>
                <a:cubicBezTo>
                  <a:pt x="106" y="173"/>
                  <a:pt x="106" y="173"/>
                  <a:pt x="106" y="173"/>
                </a:cubicBezTo>
                <a:cubicBezTo>
                  <a:pt x="107" y="173"/>
                  <a:pt x="107" y="173"/>
                  <a:pt x="108" y="173"/>
                </a:cubicBezTo>
                <a:cubicBezTo>
                  <a:pt x="108" y="173"/>
                  <a:pt x="109" y="173"/>
                  <a:pt x="109" y="173"/>
                </a:cubicBezTo>
                <a:cubicBezTo>
                  <a:pt x="131" y="163"/>
                  <a:pt x="131" y="163"/>
                  <a:pt x="131" y="163"/>
                </a:cubicBezTo>
                <a:cubicBezTo>
                  <a:pt x="134" y="170"/>
                  <a:pt x="149" y="175"/>
                  <a:pt x="168" y="175"/>
                </a:cubicBezTo>
                <a:cubicBezTo>
                  <a:pt x="188" y="175"/>
                  <a:pt x="205" y="169"/>
                  <a:pt x="205" y="161"/>
                </a:cubicBezTo>
                <a:cubicBezTo>
                  <a:pt x="205" y="154"/>
                  <a:pt x="205" y="154"/>
                  <a:pt x="205" y="154"/>
                </a:cubicBezTo>
                <a:cubicBezTo>
                  <a:pt x="205" y="156"/>
                  <a:pt x="203" y="159"/>
                  <a:pt x="199" y="161"/>
                </a:cubicBezTo>
                <a:cubicBezTo>
                  <a:pt x="192" y="165"/>
                  <a:pt x="181" y="168"/>
                  <a:pt x="168" y="168"/>
                </a:cubicBezTo>
                <a:cubicBezTo>
                  <a:pt x="155" y="168"/>
                  <a:pt x="143" y="165"/>
                  <a:pt x="137" y="161"/>
                </a:cubicBezTo>
                <a:cubicBezTo>
                  <a:pt x="136" y="161"/>
                  <a:pt x="136" y="161"/>
                  <a:pt x="136" y="161"/>
                </a:cubicBezTo>
                <a:cubicBezTo>
                  <a:pt x="133" y="159"/>
                  <a:pt x="131" y="157"/>
                  <a:pt x="131" y="155"/>
                </a:cubicBezTo>
                <a:cubicBezTo>
                  <a:pt x="131" y="154"/>
                  <a:pt x="130" y="154"/>
                  <a:pt x="130" y="154"/>
                </a:cubicBezTo>
                <a:cubicBezTo>
                  <a:pt x="130" y="155"/>
                  <a:pt x="130" y="155"/>
                  <a:pt x="130" y="155"/>
                </a:cubicBezTo>
                <a:cubicBezTo>
                  <a:pt x="108" y="165"/>
                  <a:pt x="108" y="165"/>
                  <a:pt x="108" y="165"/>
                </a:cubicBezTo>
                <a:cubicBezTo>
                  <a:pt x="68" y="152"/>
                  <a:pt x="68" y="152"/>
                  <a:pt x="68" y="152"/>
                </a:cubicBezTo>
                <a:cubicBezTo>
                  <a:pt x="57" y="148"/>
                  <a:pt x="57" y="148"/>
                  <a:pt x="57" y="148"/>
                </a:cubicBezTo>
                <a:cubicBezTo>
                  <a:pt x="46" y="144"/>
                  <a:pt x="46" y="144"/>
                  <a:pt x="46" y="144"/>
                </a:cubicBezTo>
                <a:cubicBezTo>
                  <a:pt x="58" y="139"/>
                  <a:pt x="58" y="139"/>
                  <a:pt x="58" y="139"/>
                </a:cubicBezTo>
                <a:cubicBezTo>
                  <a:pt x="107" y="156"/>
                  <a:pt x="107" y="156"/>
                  <a:pt x="107" y="156"/>
                </a:cubicBezTo>
                <a:cubicBezTo>
                  <a:pt x="107" y="156"/>
                  <a:pt x="108" y="156"/>
                  <a:pt x="108" y="156"/>
                </a:cubicBezTo>
                <a:cubicBezTo>
                  <a:pt x="109" y="156"/>
                  <a:pt x="109" y="156"/>
                  <a:pt x="110" y="156"/>
                </a:cubicBezTo>
                <a:cubicBezTo>
                  <a:pt x="131" y="146"/>
                  <a:pt x="131" y="146"/>
                  <a:pt x="131" y="146"/>
                </a:cubicBezTo>
                <a:cubicBezTo>
                  <a:pt x="134" y="152"/>
                  <a:pt x="150" y="157"/>
                  <a:pt x="168" y="157"/>
                </a:cubicBezTo>
                <a:cubicBezTo>
                  <a:pt x="185" y="157"/>
                  <a:pt x="200" y="153"/>
                  <a:pt x="204" y="146"/>
                </a:cubicBezTo>
                <a:cubicBezTo>
                  <a:pt x="217" y="140"/>
                  <a:pt x="217" y="140"/>
                  <a:pt x="217" y="140"/>
                </a:cubicBezTo>
                <a:cubicBezTo>
                  <a:pt x="219" y="140"/>
                  <a:pt x="219" y="138"/>
                  <a:pt x="219" y="137"/>
                </a:cubicBezTo>
                <a:cubicBezTo>
                  <a:pt x="219" y="135"/>
                  <a:pt x="218" y="134"/>
                  <a:pt x="217" y="133"/>
                </a:cubicBezTo>
                <a:cubicBezTo>
                  <a:pt x="205" y="129"/>
                  <a:pt x="205" y="129"/>
                  <a:pt x="205" y="129"/>
                </a:cubicBezTo>
                <a:cubicBezTo>
                  <a:pt x="218" y="123"/>
                  <a:pt x="218" y="123"/>
                  <a:pt x="218" y="123"/>
                </a:cubicBezTo>
                <a:cubicBezTo>
                  <a:pt x="219" y="122"/>
                  <a:pt x="220" y="121"/>
                  <a:pt x="220" y="119"/>
                </a:cubicBezTo>
                <a:moveTo>
                  <a:pt x="133" y="95"/>
                </a:moveTo>
                <a:cubicBezTo>
                  <a:pt x="139" y="100"/>
                  <a:pt x="152" y="104"/>
                  <a:pt x="168" y="104"/>
                </a:cubicBezTo>
                <a:cubicBezTo>
                  <a:pt x="184" y="104"/>
                  <a:pt x="197" y="100"/>
                  <a:pt x="203" y="95"/>
                </a:cubicBezTo>
                <a:cubicBezTo>
                  <a:pt x="204" y="96"/>
                  <a:pt x="205" y="98"/>
                  <a:pt x="205" y="100"/>
                </a:cubicBezTo>
                <a:cubicBezTo>
                  <a:pt x="205" y="103"/>
                  <a:pt x="203" y="105"/>
                  <a:pt x="199" y="108"/>
                </a:cubicBezTo>
                <a:cubicBezTo>
                  <a:pt x="192" y="111"/>
                  <a:pt x="181" y="114"/>
                  <a:pt x="168" y="114"/>
                </a:cubicBezTo>
                <a:cubicBezTo>
                  <a:pt x="156" y="114"/>
                  <a:pt x="146" y="112"/>
                  <a:pt x="139" y="109"/>
                </a:cubicBezTo>
                <a:cubicBezTo>
                  <a:pt x="138" y="108"/>
                  <a:pt x="137" y="108"/>
                  <a:pt x="137" y="108"/>
                </a:cubicBezTo>
                <a:cubicBezTo>
                  <a:pt x="133" y="105"/>
                  <a:pt x="130" y="103"/>
                  <a:pt x="130" y="100"/>
                </a:cubicBezTo>
                <a:cubicBezTo>
                  <a:pt x="130" y="98"/>
                  <a:pt x="131" y="96"/>
                  <a:pt x="133" y="95"/>
                </a:cubicBezTo>
                <a:moveTo>
                  <a:pt x="133" y="113"/>
                </a:moveTo>
                <a:cubicBezTo>
                  <a:pt x="139" y="118"/>
                  <a:pt x="152" y="121"/>
                  <a:pt x="168" y="121"/>
                </a:cubicBezTo>
                <a:cubicBezTo>
                  <a:pt x="184" y="121"/>
                  <a:pt x="197" y="118"/>
                  <a:pt x="203" y="113"/>
                </a:cubicBezTo>
                <a:cubicBezTo>
                  <a:pt x="204" y="114"/>
                  <a:pt x="205" y="116"/>
                  <a:pt x="205" y="118"/>
                </a:cubicBezTo>
                <a:cubicBezTo>
                  <a:pt x="205" y="119"/>
                  <a:pt x="205" y="119"/>
                  <a:pt x="205" y="120"/>
                </a:cubicBezTo>
                <a:cubicBezTo>
                  <a:pt x="204" y="121"/>
                  <a:pt x="204" y="122"/>
                  <a:pt x="203" y="122"/>
                </a:cubicBezTo>
                <a:cubicBezTo>
                  <a:pt x="203" y="123"/>
                  <a:pt x="202" y="123"/>
                  <a:pt x="202" y="123"/>
                </a:cubicBezTo>
                <a:cubicBezTo>
                  <a:pt x="202" y="124"/>
                  <a:pt x="202" y="124"/>
                  <a:pt x="201" y="124"/>
                </a:cubicBezTo>
                <a:cubicBezTo>
                  <a:pt x="201" y="125"/>
                  <a:pt x="200" y="125"/>
                  <a:pt x="199" y="126"/>
                </a:cubicBezTo>
                <a:cubicBezTo>
                  <a:pt x="192" y="129"/>
                  <a:pt x="181" y="132"/>
                  <a:pt x="168" y="132"/>
                </a:cubicBezTo>
                <a:cubicBezTo>
                  <a:pt x="156" y="132"/>
                  <a:pt x="146" y="130"/>
                  <a:pt x="139" y="127"/>
                </a:cubicBezTo>
                <a:cubicBezTo>
                  <a:pt x="138" y="126"/>
                  <a:pt x="137" y="126"/>
                  <a:pt x="137" y="126"/>
                </a:cubicBezTo>
                <a:cubicBezTo>
                  <a:pt x="133" y="123"/>
                  <a:pt x="130" y="121"/>
                  <a:pt x="130" y="118"/>
                </a:cubicBezTo>
                <a:cubicBezTo>
                  <a:pt x="130" y="116"/>
                  <a:pt x="131" y="114"/>
                  <a:pt x="133" y="113"/>
                </a:cubicBezTo>
                <a:moveTo>
                  <a:pt x="113" y="128"/>
                </a:moveTo>
                <a:cubicBezTo>
                  <a:pt x="110" y="130"/>
                  <a:pt x="105" y="131"/>
                  <a:pt x="99" y="131"/>
                </a:cubicBezTo>
                <a:cubicBezTo>
                  <a:pt x="93" y="131"/>
                  <a:pt x="87" y="130"/>
                  <a:pt x="84" y="128"/>
                </a:cubicBezTo>
                <a:cubicBezTo>
                  <a:pt x="83" y="127"/>
                  <a:pt x="81" y="126"/>
                  <a:pt x="81" y="125"/>
                </a:cubicBezTo>
                <a:cubicBezTo>
                  <a:pt x="81" y="121"/>
                  <a:pt x="89" y="118"/>
                  <a:pt x="99" y="118"/>
                </a:cubicBezTo>
                <a:cubicBezTo>
                  <a:pt x="108" y="118"/>
                  <a:pt x="116" y="121"/>
                  <a:pt x="116" y="125"/>
                </a:cubicBezTo>
                <a:cubicBezTo>
                  <a:pt x="116" y="126"/>
                  <a:pt x="115" y="127"/>
                  <a:pt x="113" y="128"/>
                </a:cubicBezTo>
                <a:moveTo>
                  <a:pt x="205" y="136"/>
                </a:moveTo>
                <a:cubicBezTo>
                  <a:pt x="205" y="136"/>
                  <a:pt x="205" y="137"/>
                  <a:pt x="205" y="137"/>
                </a:cubicBezTo>
                <a:cubicBezTo>
                  <a:pt x="205" y="137"/>
                  <a:pt x="205" y="137"/>
                  <a:pt x="205" y="137"/>
                </a:cubicBezTo>
                <a:cubicBezTo>
                  <a:pt x="205" y="137"/>
                  <a:pt x="205" y="137"/>
                  <a:pt x="205" y="137"/>
                </a:cubicBezTo>
                <a:cubicBezTo>
                  <a:pt x="205" y="138"/>
                  <a:pt x="205" y="138"/>
                  <a:pt x="204" y="139"/>
                </a:cubicBezTo>
                <a:cubicBezTo>
                  <a:pt x="204" y="139"/>
                  <a:pt x="204" y="139"/>
                  <a:pt x="204" y="139"/>
                </a:cubicBezTo>
                <a:cubicBezTo>
                  <a:pt x="204" y="140"/>
                  <a:pt x="203" y="140"/>
                  <a:pt x="203" y="140"/>
                </a:cubicBezTo>
                <a:cubicBezTo>
                  <a:pt x="203" y="141"/>
                  <a:pt x="203" y="141"/>
                  <a:pt x="202" y="141"/>
                </a:cubicBezTo>
                <a:cubicBezTo>
                  <a:pt x="202" y="141"/>
                  <a:pt x="202" y="142"/>
                  <a:pt x="201" y="142"/>
                </a:cubicBezTo>
                <a:cubicBezTo>
                  <a:pt x="201" y="142"/>
                  <a:pt x="200" y="143"/>
                  <a:pt x="199" y="143"/>
                </a:cubicBezTo>
                <a:cubicBezTo>
                  <a:pt x="192" y="147"/>
                  <a:pt x="181" y="150"/>
                  <a:pt x="168" y="150"/>
                </a:cubicBezTo>
                <a:cubicBezTo>
                  <a:pt x="155" y="150"/>
                  <a:pt x="143" y="147"/>
                  <a:pt x="137" y="143"/>
                </a:cubicBezTo>
                <a:cubicBezTo>
                  <a:pt x="136" y="143"/>
                  <a:pt x="136" y="143"/>
                  <a:pt x="136" y="143"/>
                </a:cubicBezTo>
                <a:cubicBezTo>
                  <a:pt x="136" y="143"/>
                  <a:pt x="136" y="143"/>
                  <a:pt x="136" y="143"/>
                </a:cubicBezTo>
                <a:cubicBezTo>
                  <a:pt x="134" y="142"/>
                  <a:pt x="133" y="141"/>
                  <a:pt x="132" y="140"/>
                </a:cubicBezTo>
                <a:cubicBezTo>
                  <a:pt x="132" y="140"/>
                  <a:pt x="132" y="139"/>
                  <a:pt x="132" y="139"/>
                </a:cubicBezTo>
                <a:cubicBezTo>
                  <a:pt x="131" y="139"/>
                  <a:pt x="131" y="138"/>
                  <a:pt x="131" y="138"/>
                </a:cubicBezTo>
                <a:cubicBezTo>
                  <a:pt x="131" y="137"/>
                  <a:pt x="130" y="136"/>
                  <a:pt x="130" y="136"/>
                </a:cubicBezTo>
                <a:cubicBezTo>
                  <a:pt x="130" y="134"/>
                  <a:pt x="131" y="132"/>
                  <a:pt x="133" y="130"/>
                </a:cubicBezTo>
                <a:cubicBezTo>
                  <a:pt x="139" y="136"/>
                  <a:pt x="152" y="139"/>
                  <a:pt x="168" y="139"/>
                </a:cubicBezTo>
                <a:cubicBezTo>
                  <a:pt x="184" y="139"/>
                  <a:pt x="197" y="136"/>
                  <a:pt x="203" y="130"/>
                </a:cubicBezTo>
                <a:cubicBezTo>
                  <a:pt x="204" y="132"/>
                  <a:pt x="205" y="134"/>
                  <a:pt x="205" y="136"/>
                </a:cubicBezTo>
                <a:moveTo>
                  <a:pt x="205" y="120"/>
                </a:moveTo>
                <a:cubicBezTo>
                  <a:pt x="205" y="120"/>
                  <a:pt x="205" y="120"/>
                  <a:pt x="205" y="120"/>
                </a:cubicBezTo>
                <a:cubicBezTo>
                  <a:pt x="206" y="120"/>
                  <a:pt x="206" y="120"/>
                  <a:pt x="206" y="120"/>
                </a:cubicBezTo>
                <a:lnTo>
                  <a:pt x="205" y="120"/>
                </a:lnTo>
                <a:close/>
                <a:moveTo>
                  <a:pt x="137" y="78"/>
                </a:moveTo>
                <a:cubicBezTo>
                  <a:pt x="143" y="82"/>
                  <a:pt x="155" y="85"/>
                  <a:pt x="168" y="85"/>
                </a:cubicBezTo>
                <a:cubicBezTo>
                  <a:pt x="181" y="85"/>
                  <a:pt x="192" y="82"/>
                  <a:pt x="199" y="78"/>
                </a:cubicBezTo>
                <a:cubicBezTo>
                  <a:pt x="203" y="76"/>
                  <a:pt x="205" y="73"/>
                  <a:pt x="205" y="70"/>
                </a:cubicBezTo>
                <a:cubicBezTo>
                  <a:pt x="205" y="63"/>
                  <a:pt x="188" y="56"/>
                  <a:pt x="168" y="56"/>
                </a:cubicBezTo>
                <a:cubicBezTo>
                  <a:pt x="147" y="56"/>
                  <a:pt x="130" y="63"/>
                  <a:pt x="130" y="70"/>
                </a:cubicBezTo>
                <a:cubicBezTo>
                  <a:pt x="130" y="73"/>
                  <a:pt x="133" y="76"/>
                  <a:pt x="137" y="78"/>
                </a:cubicBezTo>
              </a:path>
            </a:pathLst>
          </a:custGeom>
          <a:solidFill>
            <a:srgbClr val="663300"/>
          </a:solidFill>
          <a:ln>
            <a:noFill/>
          </a:ln>
        </p:spPr>
        <p:txBody>
          <a:bodyPr vert="horz" wrap="square" lIns="76347" tIns="38174" rIns="76347" bIns="38174" numCol="1" anchor="t" anchorCtr="0" compatLnSpc="1">
            <a:prstTxWarp prst="textNoShape">
              <a:avLst/>
            </a:prstTxWarp>
          </a:bodyPr>
          <a:lstStyle/>
          <a:p>
            <a:endParaRPr lang="en-US" sz="1715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0" name="Прямоугольник 329">
            <a:extLst>
              <a:ext uri="{FF2B5EF4-FFF2-40B4-BE49-F238E27FC236}">
                <a16:creationId xmlns:a16="http://schemas.microsoft.com/office/drawing/2014/main" id="{19C634B4-AC45-4A59-A638-D06DC93831D5}"/>
              </a:ext>
            </a:extLst>
          </p:cNvPr>
          <p:cNvSpPr/>
          <p:nvPr/>
        </p:nvSpPr>
        <p:spPr>
          <a:xfrm>
            <a:off x="6550082" y="3693403"/>
            <a:ext cx="727759" cy="3429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uk-UA" sz="1400" b="1" dirty="0">
                <a:solidFill>
                  <a:srgbClr val="6633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іні-гранти</a:t>
            </a:r>
            <a:endParaRPr lang="ru-RU" sz="1400" b="1" dirty="0">
              <a:solidFill>
                <a:srgbClr val="6633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1" name="Freeform 2000">
            <a:extLst>
              <a:ext uri="{FF2B5EF4-FFF2-40B4-BE49-F238E27FC236}">
                <a16:creationId xmlns:a16="http://schemas.microsoft.com/office/drawing/2014/main" id="{CD360919-7F4A-4EE1-B8D3-E3472E483271}"/>
              </a:ext>
            </a:extLst>
          </p:cNvPr>
          <p:cNvSpPr>
            <a:spLocks noEditPoints="1"/>
          </p:cNvSpPr>
          <p:nvPr/>
        </p:nvSpPr>
        <p:spPr bwMode="auto">
          <a:xfrm>
            <a:off x="10039973" y="3691489"/>
            <a:ext cx="342933" cy="342933"/>
          </a:xfrm>
          <a:custGeom>
            <a:avLst/>
            <a:gdLst>
              <a:gd name="T0" fmla="*/ 126 w 252"/>
              <a:gd name="T1" fmla="*/ 242 h 252"/>
              <a:gd name="T2" fmla="*/ 126 w 252"/>
              <a:gd name="T3" fmla="*/ 0 h 252"/>
              <a:gd name="T4" fmla="*/ 252 w 252"/>
              <a:gd name="T5" fmla="*/ 126 h 252"/>
              <a:gd name="T6" fmla="*/ 217 w 252"/>
              <a:gd name="T7" fmla="*/ 116 h 252"/>
              <a:gd name="T8" fmla="*/ 220 w 252"/>
              <a:gd name="T9" fmla="*/ 102 h 252"/>
              <a:gd name="T10" fmla="*/ 205 w 252"/>
              <a:gd name="T11" fmla="*/ 89 h 252"/>
              <a:gd name="T12" fmla="*/ 168 w 252"/>
              <a:gd name="T13" fmla="*/ 96 h 252"/>
              <a:gd name="T14" fmla="*/ 130 w 252"/>
              <a:gd name="T15" fmla="*/ 82 h 252"/>
              <a:gd name="T16" fmla="*/ 33 w 252"/>
              <a:gd name="T17" fmla="*/ 127 h 252"/>
              <a:gd name="T18" fmla="*/ 34 w 252"/>
              <a:gd name="T19" fmla="*/ 141 h 252"/>
              <a:gd name="T20" fmla="*/ 47 w 252"/>
              <a:gd name="T21" fmla="*/ 153 h 252"/>
              <a:gd name="T22" fmla="*/ 34 w 252"/>
              <a:gd name="T23" fmla="*/ 166 h 252"/>
              <a:gd name="T24" fmla="*/ 109 w 252"/>
              <a:gd name="T25" fmla="*/ 191 h 252"/>
              <a:gd name="T26" fmla="*/ 205 w 252"/>
              <a:gd name="T27" fmla="*/ 179 h 252"/>
              <a:gd name="T28" fmla="*/ 168 w 252"/>
              <a:gd name="T29" fmla="*/ 186 h 252"/>
              <a:gd name="T30" fmla="*/ 130 w 252"/>
              <a:gd name="T31" fmla="*/ 172 h 252"/>
              <a:gd name="T32" fmla="*/ 107 w 252"/>
              <a:gd name="T33" fmla="*/ 183 h 252"/>
              <a:gd name="T34" fmla="*/ 106 w 252"/>
              <a:gd name="T35" fmla="*/ 173 h 252"/>
              <a:gd name="T36" fmla="*/ 131 w 252"/>
              <a:gd name="T37" fmla="*/ 163 h 252"/>
              <a:gd name="T38" fmla="*/ 205 w 252"/>
              <a:gd name="T39" fmla="*/ 154 h 252"/>
              <a:gd name="T40" fmla="*/ 137 w 252"/>
              <a:gd name="T41" fmla="*/ 161 h 252"/>
              <a:gd name="T42" fmla="*/ 130 w 252"/>
              <a:gd name="T43" fmla="*/ 154 h 252"/>
              <a:gd name="T44" fmla="*/ 68 w 252"/>
              <a:gd name="T45" fmla="*/ 152 h 252"/>
              <a:gd name="T46" fmla="*/ 58 w 252"/>
              <a:gd name="T47" fmla="*/ 139 h 252"/>
              <a:gd name="T48" fmla="*/ 110 w 252"/>
              <a:gd name="T49" fmla="*/ 156 h 252"/>
              <a:gd name="T50" fmla="*/ 204 w 252"/>
              <a:gd name="T51" fmla="*/ 146 h 252"/>
              <a:gd name="T52" fmla="*/ 217 w 252"/>
              <a:gd name="T53" fmla="*/ 133 h 252"/>
              <a:gd name="T54" fmla="*/ 220 w 252"/>
              <a:gd name="T55" fmla="*/ 119 h 252"/>
              <a:gd name="T56" fmla="*/ 203 w 252"/>
              <a:gd name="T57" fmla="*/ 95 h 252"/>
              <a:gd name="T58" fmla="*/ 168 w 252"/>
              <a:gd name="T59" fmla="*/ 114 h 252"/>
              <a:gd name="T60" fmla="*/ 130 w 252"/>
              <a:gd name="T61" fmla="*/ 100 h 252"/>
              <a:gd name="T62" fmla="*/ 168 w 252"/>
              <a:gd name="T63" fmla="*/ 121 h 252"/>
              <a:gd name="T64" fmla="*/ 205 w 252"/>
              <a:gd name="T65" fmla="*/ 120 h 252"/>
              <a:gd name="T66" fmla="*/ 201 w 252"/>
              <a:gd name="T67" fmla="*/ 124 h 252"/>
              <a:gd name="T68" fmla="*/ 139 w 252"/>
              <a:gd name="T69" fmla="*/ 127 h 252"/>
              <a:gd name="T70" fmla="*/ 133 w 252"/>
              <a:gd name="T71" fmla="*/ 113 h 252"/>
              <a:gd name="T72" fmla="*/ 84 w 252"/>
              <a:gd name="T73" fmla="*/ 128 h 252"/>
              <a:gd name="T74" fmla="*/ 116 w 252"/>
              <a:gd name="T75" fmla="*/ 125 h 252"/>
              <a:gd name="T76" fmla="*/ 205 w 252"/>
              <a:gd name="T77" fmla="*/ 137 h 252"/>
              <a:gd name="T78" fmla="*/ 204 w 252"/>
              <a:gd name="T79" fmla="*/ 139 h 252"/>
              <a:gd name="T80" fmla="*/ 202 w 252"/>
              <a:gd name="T81" fmla="*/ 141 h 252"/>
              <a:gd name="T82" fmla="*/ 168 w 252"/>
              <a:gd name="T83" fmla="*/ 150 h 252"/>
              <a:gd name="T84" fmla="*/ 136 w 252"/>
              <a:gd name="T85" fmla="*/ 143 h 252"/>
              <a:gd name="T86" fmla="*/ 131 w 252"/>
              <a:gd name="T87" fmla="*/ 138 h 252"/>
              <a:gd name="T88" fmla="*/ 168 w 252"/>
              <a:gd name="T89" fmla="*/ 139 h 252"/>
              <a:gd name="T90" fmla="*/ 205 w 252"/>
              <a:gd name="T91" fmla="*/ 120 h 252"/>
              <a:gd name="T92" fmla="*/ 205 w 252"/>
              <a:gd name="T93" fmla="*/ 120 h 252"/>
              <a:gd name="T94" fmla="*/ 199 w 252"/>
              <a:gd name="T95" fmla="*/ 78 h 252"/>
              <a:gd name="T96" fmla="*/ 130 w 252"/>
              <a:gd name="T97" fmla="*/ 7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52" h="252">
                <a:moveTo>
                  <a:pt x="126" y="10"/>
                </a:moveTo>
                <a:cubicBezTo>
                  <a:pt x="190" y="10"/>
                  <a:pt x="242" y="62"/>
                  <a:pt x="242" y="126"/>
                </a:cubicBezTo>
                <a:cubicBezTo>
                  <a:pt x="242" y="190"/>
                  <a:pt x="190" y="242"/>
                  <a:pt x="126" y="242"/>
                </a:cubicBezTo>
                <a:cubicBezTo>
                  <a:pt x="62" y="242"/>
                  <a:pt x="10" y="190"/>
                  <a:pt x="10" y="126"/>
                </a:cubicBezTo>
                <a:cubicBezTo>
                  <a:pt x="10" y="62"/>
                  <a:pt x="62" y="10"/>
                  <a:pt x="126" y="10"/>
                </a:cubicBezTo>
                <a:moveTo>
                  <a:pt x="126" y="0"/>
                </a:moveTo>
                <a:cubicBezTo>
                  <a:pt x="56" y="0"/>
                  <a:pt x="0" y="56"/>
                  <a:pt x="0" y="126"/>
                </a:cubicBezTo>
                <a:cubicBezTo>
                  <a:pt x="0" y="196"/>
                  <a:pt x="56" y="252"/>
                  <a:pt x="126" y="252"/>
                </a:cubicBezTo>
                <a:cubicBezTo>
                  <a:pt x="196" y="252"/>
                  <a:pt x="252" y="196"/>
                  <a:pt x="252" y="126"/>
                </a:cubicBezTo>
                <a:cubicBezTo>
                  <a:pt x="252" y="56"/>
                  <a:pt x="196" y="0"/>
                  <a:pt x="126" y="0"/>
                </a:cubicBezTo>
                <a:moveTo>
                  <a:pt x="220" y="119"/>
                </a:moveTo>
                <a:cubicBezTo>
                  <a:pt x="220" y="117"/>
                  <a:pt x="219" y="116"/>
                  <a:pt x="217" y="116"/>
                </a:cubicBezTo>
                <a:cubicBezTo>
                  <a:pt x="205" y="111"/>
                  <a:pt x="205" y="111"/>
                  <a:pt x="205" y="111"/>
                </a:cubicBezTo>
                <a:cubicBezTo>
                  <a:pt x="218" y="105"/>
                  <a:pt x="218" y="105"/>
                  <a:pt x="218" y="105"/>
                </a:cubicBezTo>
                <a:cubicBezTo>
                  <a:pt x="220" y="105"/>
                  <a:pt x="220" y="103"/>
                  <a:pt x="220" y="102"/>
                </a:cubicBezTo>
                <a:cubicBezTo>
                  <a:pt x="220" y="100"/>
                  <a:pt x="219" y="99"/>
                  <a:pt x="218" y="98"/>
                </a:cubicBezTo>
                <a:cubicBezTo>
                  <a:pt x="204" y="93"/>
                  <a:pt x="204" y="93"/>
                  <a:pt x="204" y="93"/>
                </a:cubicBezTo>
                <a:cubicBezTo>
                  <a:pt x="205" y="92"/>
                  <a:pt x="205" y="91"/>
                  <a:pt x="205" y="89"/>
                </a:cubicBezTo>
                <a:cubicBezTo>
                  <a:pt x="205" y="82"/>
                  <a:pt x="205" y="82"/>
                  <a:pt x="205" y="82"/>
                </a:cubicBezTo>
                <a:cubicBezTo>
                  <a:pt x="205" y="85"/>
                  <a:pt x="203" y="88"/>
                  <a:pt x="199" y="90"/>
                </a:cubicBezTo>
                <a:cubicBezTo>
                  <a:pt x="192" y="94"/>
                  <a:pt x="181" y="96"/>
                  <a:pt x="168" y="96"/>
                </a:cubicBezTo>
                <a:cubicBezTo>
                  <a:pt x="156" y="96"/>
                  <a:pt x="146" y="94"/>
                  <a:pt x="139" y="91"/>
                </a:cubicBezTo>
                <a:cubicBezTo>
                  <a:pt x="138" y="91"/>
                  <a:pt x="137" y="90"/>
                  <a:pt x="137" y="90"/>
                </a:cubicBezTo>
                <a:cubicBezTo>
                  <a:pt x="133" y="88"/>
                  <a:pt x="130" y="85"/>
                  <a:pt x="130" y="82"/>
                </a:cubicBezTo>
                <a:cubicBezTo>
                  <a:pt x="130" y="81"/>
                  <a:pt x="131" y="80"/>
                  <a:pt x="131" y="79"/>
                </a:cubicBezTo>
                <a:cubicBezTo>
                  <a:pt x="35" y="124"/>
                  <a:pt x="35" y="124"/>
                  <a:pt x="35" y="124"/>
                </a:cubicBezTo>
                <a:cubicBezTo>
                  <a:pt x="33" y="124"/>
                  <a:pt x="33" y="126"/>
                  <a:pt x="33" y="127"/>
                </a:cubicBezTo>
                <a:cubicBezTo>
                  <a:pt x="33" y="129"/>
                  <a:pt x="34" y="130"/>
                  <a:pt x="35" y="131"/>
                </a:cubicBezTo>
                <a:cubicBezTo>
                  <a:pt x="47" y="135"/>
                  <a:pt x="47" y="135"/>
                  <a:pt x="47" y="135"/>
                </a:cubicBezTo>
                <a:cubicBezTo>
                  <a:pt x="34" y="141"/>
                  <a:pt x="34" y="141"/>
                  <a:pt x="34" y="141"/>
                </a:cubicBezTo>
                <a:cubicBezTo>
                  <a:pt x="33" y="142"/>
                  <a:pt x="32" y="143"/>
                  <a:pt x="32" y="145"/>
                </a:cubicBezTo>
                <a:cubicBezTo>
                  <a:pt x="32" y="147"/>
                  <a:pt x="33" y="148"/>
                  <a:pt x="35" y="148"/>
                </a:cubicBezTo>
                <a:cubicBezTo>
                  <a:pt x="47" y="153"/>
                  <a:pt x="47" y="153"/>
                  <a:pt x="47" y="153"/>
                </a:cubicBezTo>
                <a:cubicBezTo>
                  <a:pt x="34" y="159"/>
                  <a:pt x="34" y="159"/>
                  <a:pt x="34" y="159"/>
                </a:cubicBezTo>
                <a:cubicBezTo>
                  <a:pt x="32" y="159"/>
                  <a:pt x="32" y="161"/>
                  <a:pt x="32" y="162"/>
                </a:cubicBezTo>
                <a:cubicBezTo>
                  <a:pt x="32" y="164"/>
                  <a:pt x="33" y="165"/>
                  <a:pt x="34" y="166"/>
                </a:cubicBezTo>
                <a:cubicBezTo>
                  <a:pt x="106" y="191"/>
                  <a:pt x="106" y="191"/>
                  <a:pt x="106" y="191"/>
                </a:cubicBezTo>
                <a:cubicBezTo>
                  <a:pt x="106" y="191"/>
                  <a:pt x="107" y="191"/>
                  <a:pt x="107" y="191"/>
                </a:cubicBezTo>
                <a:cubicBezTo>
                  <a:pt x="108" y="191"/>
                  <a:pt x="108" y="191"/>
                  <a:pt x="109" y="191"/>
                </a:cubicBezTo>
                <a:cubicBezTo>
                  <a:pt x="131" y="181"/>
                  <a:pt x="131" y="181"/>
                  <a:pt x="131" y="181"/>
                </a:cubicBezTo>
                <a:cubicBezTo>
                  <a:pt x="133" y="188"/>
                  <a:pt x="149" y="193"/>
                  <a:pt x="168" y="193"/>
                </a:cubicBezTo>
                <a:cubicBezTo>
                  <a:pt x="188" y="193"/>
                  <a:pt x="205" y="187"/>
                  <a:pt x="205" y="179"/>
                </a:cubicBezTo>
                <a:cubicBezTo>
                  <a:pt x="205" y="171"/>
                  <a:pt x="205" y="171"/>
                  <a:pt x="205" y="171"/>
                </a:cubicBezTo>
                <a:cubicBezTo>
                  <a:pt x="205" y="174"/>
                  <a:pt x="203" y="177"/>
                  <a:pt x="199" y="179"/>
                </a:cubicBezTo>
                <a:cubicBezTo>
                  <a:pt x="192" y="183"/>
                  <a:pt x="181" y="186"/>
                  <a:pt x="168" y="186"/>
                </a:cubicBezTo>
                <a:cubicBezTo>
                  <a:pt x="155" y="186"/>
                  <a:pt x="143" y="183"/>
                  <a:pt x="137" y="179"/>
                </a:cubicBezTo>
                <a:cubicBezTo>
                  <a:pt x="136" y="179"/>
                  <a:pt x="136" y="179"/>
                  <a:pt x="135" y="178"/>
                </a:cubicBezTo>
                <a:cubicBezTo>
                  <a:pt x="132" y="176"/>
                  <a:pt x="131" y="174"/>
                  <a:pt x="130" y="172"/>
                </a:cubicBezTo>
                <a:cubicBezTo>
                  <a:pt x="130" y="172"/>
                  <a:pt x="130" y="172"/>
                  <a:pt x="130" y="171"/>
                </a:cubicBezTo>
                <a:cubicBezTo>
                  <a:pt x="130" y="172"/>
                  <a:pt x="130" y="172"/>
                  <a:pt x="130" y="172"/>
                </a:cubicBezTo>
                <a:cubicBezTo>
                  <a:pt x="107" y="183"/>
                  <a:pt x="107" y="183"/>
                  <a:pt x="107" y="183"/>
                </a:cubicBezTo>
                <a:cubicBezTo>
                  <a:pt x="46" y="162"/>
                  <a:pt x="46" y="162"/>
                  <a:pt x="46" y="162"/>
                </a:cubicBezTo>
                <a:cubicBezTo>
                  <a:pt x="58" y="156"/>
                  <a:pt x="58" y="156"/>
                  <a:pt x="58" y="156"/>
                </a:cubicBezTo>
                <a:cubicBezTo>
                  <a:pt x="106" y="173"/>
                  <a:pt x="106" y="173"/>
                  <a:pt x="106" y="173"/>
                </a:cubicBezTo>
                <a:cubicBezTo>
                  <a:pt x="107" y="173"/>
                  <a:pt x="107" y="173"/>
                  <a:pt x="108" y="173"/>
                </a:cubicBezTo>
                <a:cubicBezTo>
                  <a:pt x="108" y="173"/>
                  <a:pt x="109" y="173"/>
                  <a:pt x="109" y="173"/>
                </a:cubicBezTo>
                <a:cubicBezTo>
                  <a:pt x="131" y="163"/>
                  <a:pt x="131" y="163"/>
                  <a:pt x="131" y="163"/>
                </a:cubicBezTo>
                <a:cubicBezTo>
                  <a:pt x="134" y="170"/>
                  <a:pt x="149" y="175"/>
                  <a:pt x="168" y="175"/>
                </a:cubicBezTo>
                <a:cubicBezTo>
                  <a:pt x="188" y="175"/>
                  <a:pt x="205" y="169"/>
                  <a:pt x="205" y="161"/>
                </a:cubicBezTo>
                <a:cubicBezTo>
                  <a:pt x="205" y="154"/>
                  <a:pt x="205" y="154"/>
                  <a:pt x="205" y="154"/>
                </a:cubicBezTo>
                <a:cubicBezTo>
                  <a:pt x="205" y="156"/>
                  <a:pt x="203" y="159"/>
                  <a:pt x="199" y="161"/>
                </a:cubicBezTo>
                <a:cubicBezTo>
                  <a:pt x="192" y="165"/>
                  <a:pt x="181" y="168"/>
                  <a:pt x="168" y="168"/>
                </a:cubicBezTo>
                <a:cubicBezTo>
                  <a:pt x="155" y="168"/>
                  <a:pt x="143" y="165"/>
                  <a:pt x="137" y="161"/>
                </a:cubicBezTo>
                <a:cubicBezTo>
                  <a:pt x="136" y="161"/>
                  <a:pt x="136" y="161"/>
                  <a:pt x="136" y="161"/>
                </a:cubicBezTo>
                <a:cubicBezTo>
                  <a:pt x="133" y="159"/>
                  <a:pt x="131" y="157"/>
                  <a:pt x="131" y="155"/>
                </a:cubicBezTo>
                <a:cubicBezTo>
                  <a:pt x="131" y="154"/>
                  <a:pt x="130" y="154"/>
                  <a:pt x="130" y="154"/>
                </a:cubicBezTo>
                <a:cubicBezTo>
                  <a:pt x="130" y="155"/>
                  <a:pt x="130" y="155"/>
                  <a:pt x="130" y="155"/>
                </a:cubicBezTo>
                <a:cubicBezTo>
                  <a:pt x="108" y="165"/>
                  <a:pt x="108" y="165"/>
                  <a:pt x="108" y="165"/>
                </a:cubicBezTo>
                <a:cubicBezTo>
                  <a:pt x="68" y="152"/>
                  <a:pt x="68" y="152"/>
                  <a:pt x="68" y="152"/>
                </a:cubicBezTo>
                <a:cubicBezTo>
                  <a:pt x="57" y="148"/>
                  <a:pt x="57" y="148"/>
                  <a:pt x="57" y="148"/>
                </a:cubicBezTo>
                <a:cubicBezTo>
                  <a:pt x="46" y="144"/>
                  <a:pt x="46" y="144"/>
                  <a:pt x="46" y="144"/>
                </a:cubicBezTo>
                <a:cubicBezTo>
                  <a:pt x="58" y="139"/>
                  <a:pt x="58" y="139"/>
                  <a:pt x="58" y="139"/>
                </a:cubicBezTo>
                <a:cubicBezTo>
                  <a:pt x="107" y="156"/>
                  <a:pt x="107" y="156"/>
                  <a:pt x="107" y="156"/>
                </a:cubicBezTo>
                <a:cubicBezTo>
                  <a:pt x="107" y="156"/>
                  <a:pt x="108" y="156"/>
                  <a:pt x="108" y="156"/>
                </a:cubicBezTo>
                <a:cubicBezTo>
                  <a:pt x="109" y="156"/>
                  <a:pt x="109" y="156"/>
                  <a:pt x="110" y="156"/>
                </a:cubicBezTo>
                <a:cubicBezTo>
                  <a:pt x="131" y="146"/>
                  <a:pt x="131" y="146"/>
                  <a:pt x="131" y="146"/>
                </a:cubicBezTo>
                <a:cubicBezTo>
                  <a:pt x="134" y="152"/>
                  <a:pt x="150" y="157"/>
                  <a:pt x="168" y="157"/>
                </a:cubicBezTo>
                <a:cubicBezTo>
                  <a:pt x="185" y="157"/>
                  <a:pt x="200" y="153"/>
                  <a:pt x="204" y="146"/>
                </a:cubicBezTo>
                <a:cubicBezTo>
                  <a:pt x="217" y="140"/>
                  <a:pt x="217" y="140"/>
                  <a:pt x="217" y="140"/>
                </a:cubicBezTo>
                <a:cubicBezTo>
                  <a:pt x="219" y="140"/>
                  <a:pt x="219" y="138"/>
                  <a:pt x="219" y="137"/>
                </a:cubicBezTo>
                <a:cubicBezTo>
                  <a:pt x="219" y="135"/>
                  <a:pt x="218" y="134"/>
                  <a:pt x="217" y="133"/>
                </a:cubicBezTo>
                <a:cubicBezTo>
                  <a:pt x="205" y="129"/>
                  <a:pt x="205" y="129"/>
                  <a:pt x="205" y="129"/>
                </a:cubicBezTo>
                <a:cubicBezTo>
                  <a:pt x="218" y="123"/>
                  <a:pt x="218" y="123"/>
                  <a:pt x="218" y="123"/>
                </a:cubicBezTo>
                <a:cubicBezTo>
                  <a:pt x="219" y="122"/>
                  <a:pt x="220" y="121"/>
                  <a:pt x="220" y="119"/>
                </a:cubicBezTo>
                <a:moveTo>
                  <a:pt x="133" y="95"/>
                </a:moveTo>
                <a:cubicBezTo>
                  <a:pt x="139" y="100"/>
                  <a:pt x="152" y="104"/>
                  <a:pt x="168" y="104"/>
                </a:cubicBezTo>
                <a:cubicBezTo>
                  <a:pt x="184" y="104"/>
                  <a:pt x="197" y="100"/>
                  <a:pt x="203" y="95"/>
                </a:cubicBezTo>
                <a:cubicBezTo>
                  <a:pt x="204" y="96"/>
                  <a:pt x="205" y="98"/>
                  <a:pt x="205" y="100"/>
                </a:cubicBezTo>
                <a:cubicBezTo>
                  <a:pt x="205" y="103"/>
                  <a:pt x="203" y="105"/>
                  <a:pt x="199" y="108"/>
                </a:cubicBezTo>
                <a:cubicBezTo>
                  <a:pt x="192" y="111"/>
                  <a:pt x="181" y="114"/>
                  <a:pt x="168" y="114"/>
                </a:cubicBezTo>
                <a:cubicBezTo>
                  <a:pt x="156" y="114"/>
                  <a:pt x="146" y="112"/>
                  <a:pt x="139" y="109"/>
                </a:cubicBezTo>
                <a:cubicBezTo>
                  <a:pt x="138" y="108"/>
                  <a:pt x="137" y="108"/>
                  <a:pt x="137" y="108"/>
                </a:cubicBezTo>
                <a:cubicBezTo>
                  <a:pt x="133" y="105"/>
                  <a:pt x="130" y="103"/>
                  <a:pt x="130" y="100"/>
                </a:cubicBezTo>
                <a:cubicBezTo>
                  <a:pt x="130" y="98"/>
                  <a:pt x="131" y="96"/>
                  <a:pt x="133" y="95"/>
                </a:cubicBezTo>
                <a:moveTo>
                  <a:pt x="133" y="113"/>
                </a:moveTo>
                <a:cubicBezTo>
                  <a:pt x="139" y="118"/>
                  <a:pt x="152" y="121"/>
                  <a:pt x="168" y="121"/>
                </a:cubicBezTo>
                <a:cubicBezTo>
                  <a:pt x="184" y="121"/>
                  <a:pt x="197" y="118"/>
                  <a:pt x="203" y="113"/>
                </a:cubicBezTo>
                <a:cubicBezTo>
                  <a:pt x="204" y="114"/>
                  <a:pt x="205" y="116"/>
                  <a:pt x="205" y="118"/>
                </a:cubicBezTo>
                <a:cubicBezTo>
                  <a:pt x="205" y="119"/>
                  <a:pt x="205" y="119"/>
                  <a:pt x="205" y="120"/>
                </a:cubicBezTo>
                <a:cubicBezTo>
                  <a:pt x="204" y="121"/>
                  <a:pt x="204" y="122"/>
                  <a:pt x="203" y="122"/>
                </a:cubicBezTo>
                <a:cubicBezTo>
                  <a:pt x="203" y="123"/>
                  <a:pt x="202" y="123"/>
                  <a:pt x="202" y="123"/>
                </a:cubicBezTo>
                <a:cubicBezTo>
                  <a:pt x="202" y="124"/>
                  <a:pt x="202" y="124"/>
                  <a:pt x="201" y="124"/>
                </a:cubicBezTo>
                <a:cubicBezTo>
                  <a:pt x="201" y="125"/>
                  <a:pt x="200" y="125"/>
                  <a:pt x="199" y="126"/>
                </a:cubicBezTo>
                <a:cubicBezTo>
                  <a:pt x="192" y="129"/>
                  <a:pt x="181" y="132"/>
                  <a:pt x="168" y="132"/>
                </a:cubicBezTo>
                <a:cubicBezTo>
                  <a:pt x="156" y="132"/>
                  <a:pt x="146" y="130"/>
                  <a:pt x="139" y="127"/>
                </a:cubicBezTo>
                <a:cubicBezTo>
                  <a:pt x="138" y="126"/>
                  <a:pt x="137" y="126"/>
                  <a:pt x="137" y="126"/>
                </a:cubicBezTo>
                <a:cubicBezTo>
                  <a:pt x="133" y="123"/>
                  <a:pt x="130" y="121"/>
                  <a:pt x="130" y="118"/>
                </a:cubicBezTo>
                <a:cubicBezTo>
                  <a:pt x="130" y="116"/>
                  <a:pt x="131" y="114"/>
                  <a:pt x="133" y="113"/>
                </a:cubicBezTo>
                <a:moveTo>
                  <a:pt x="113" y="128"/>
                </a:moveTo>
                <a:cubicBezTo>
                  <a:pt x="110" y="130"/>
                  <a:pt x="105" y="131"/>
                  <a:pt x="99" y="131"/>
                </a:cubicBezTo>
                <a:cubicBezTo>
                  <a:pt x="93" y="131"/>
                  <a:pt x="87" y="130"/>
                  <a:pt x="84" y="128"/>
                </a:cubicBezTo>
                <a:cubicBezTo>
                  <a:pt x="83" y="127"/>
                  <a:pt x="81" y="126"/>
                  <a:pt x="81" y="125"/>
                </a:cubicBezTo>
                <a:cubicBezTo>
                  <a:pt x="81" y="121"/>
                  <a:pt x="89" y="118"/>
                  <a:pt x="99" y="118"/>
                </a:cubicBezTo>
                <a:cubicBezTo>
                  <a:pt x="108" y="118"/>
                  <a:pt x="116" y="121"/>
                  <a:pt x="116" y="125"/>
                </a:cubicBezTo>
                <a:cubicBezTo>
                  <a:pt x="116" y="126"/>
                  <a:pt x="115" y="127"/>
                  <a:pt x="113" y="128"/>
                </a:cubicBezTo>
                <a:moveTo>
                  <a:pt x="205" y="136"/>
                </a:moveTo>
                <a:cubicBezTo>
                  <a:pt x="205" y="136"/>
                  <a:pt x="205" y="137"/>
                  <a:pt x="205" y="137"/>
                </a:cubicBezTo>
                <a:cubicBezTo>
                  <a:pt x="205" y="137"/>
                  <a:pt x="205" y="137"/>
                  <a:pt x="205" y="137"/>
                </a:cubicBezTo>
                <a:cubicBezTo>
                  <a:pt x="205" y="137"/>
                  <a:pt x="205" y="137"/>
                  <a:pt x="205" y="137"/>
                </a:cubicBezTo>
                <a:cubicBezTo>
                  <a:pt x="205" y="138"/>
                  <a:pt x="205" y="138"/>
                  <a:pt x="204" y="139"/>
                </a:cubicBezTo>
                <a:cubicBezTo>
                  <a:pt x="204" y="139"/>
                  <a:pt x="204" y="139"/>
                  <a:pt x="204" y="139"/>
                </a:cubicBezTo>
                <a:cubicBezTo>
                  <a:pt x="204" y="140"/>
                  <a:pt x="203" y="140"/>
                  <a:pt x="203" y="140"/>
                </a:cubicBezTo>
                <a:cubicBezTo>
                  <a:pt x="203" y="141"/>
                  <a:pt x="203" y="141"/>
                  <a:pt x="202" y="141"/>
                </a:cubicBezTo>
                <a:cubicBezTo>
                  <a:pt x="202" y="141"/>
                  <a:pt x="202" y="142"/>
                  <a:pt x="201" y="142"/>
                </a:cubicBezTo>
                <a:cubicBezTo>
                  <a:pt x="201" y="142"/>
                  <a:pt x="200" y="143"/>
                  <a:pt x="199" y="143"/>
                </a:cubicBezTo>
                <a:cubicBezTo>
                  <a:pt x="192" y="147"/>
                  <a:pt x="181" y="150"/>
                  <a:pt x="168" y="150"/>
                </a:cubicBezTo>
                <a:cubicBezTo>
                  <a:pt x="155" y="150"/>
                  <a:pt x="143" y="147"/>
                  <a:pt x="137" y="143"/>
                </a:cubicBezTo>
                <a:cubicBezTo>
                  <a:pt x="136" y="143"/>
                  <a:pt x="136" y="143"/>
                  <a:pt x="136" y="143"/>
                </a:cubicBezTo>
                <a:cubicBezTo>
                  <a:pt x="136" y="143"/>
                  <a:pt x="136" y="143"/>
                  <a:pt x="136" y="143"/>
                </a:cubicBezTo>
                <a:cubicBezTo>
                  <a:pt x="134" y="142"/>
                  <a:pt x="133" y="141"/>
                  <a:pt x="132" y="140"/>
                </a:cubicBezTo>
                <a:cubicBezTo>
                  <a:pt x="132" y="140"/>
                  <a:pt x="132" y="139"/>
                  <a:pt x="132" y="139"/>
                </a:cubicBezTo>
                <a:cubicBezTo>
                  <a:pt x="131" y="139"/>
                  <a:pt x="131" y="138"/>
                  <a:pt x="131" y="138"/>
                </a:cubicBezTo>
                <a:cubicBezTo>
                  <a:pt x="131" y="137"/>
                  <a:pt x="130" y="136"/>
                  <a:pt x="130" y="136"/>
                </a:cubicBezTo>
                <a:cubicBezTo>
                  <a:pt x="130" y="134"/>
                  <a:pt x="131" y="132"/>
                  <a:pt x="133" y="130"/>
                </a:cubicBezTo>
                <a:cubicBezTo>
                  <a:pt x="139" y="136"/>
                  <a:pt x="152" y="139"/>
                  <a:pt x="168" y="139"/>
                </a:cubicBezTo>
                <a:cubicBezTo>
                  <a:pt x="184" y="139"/>
                  <a:pt x="197" y="136"/>
                  <a:pt x="203" y="130"/>
                </a:cubicBezTo>
                <a:cubicBezTo>
                  <a:pt x="204" y="132"/>
                  <a:pt x="205" y="134"/>
                  <a:pt x="205" y="136"/>
                </a:cubicBezTo>
                <a:moveTo>
                  <a:pt x="205" y="120"/>
                </a:moveTo>
                <a:cubicBezTo>
                  <a:pt x="205" y="120"/>
                  <a:pt x="205" y="120"/>
                  <a:pt x="205" y="120"/>
                </a:cubicBezTo>
                <a:cubicBezTo>
                  <a:pt x="206" y="120"/>
                  <a:pt x="206" y="120"/>
                  <a:pt x="206" y="120"/>
                </a:cubicBezTo>
                <a:lnTo>
                  <a:pt x="205" y="120"/>
                </a:lnTo>
                <a:close/>
                <a:moveTo>
                  <a:pt x="137" y="78"/>
                </a:moveTo>
                <a:cubicBezTo>
                  <a:pt x="143" y="82"/>
                  <a:pt x="155" y="85"/>
                  <a:pt x="168" y="85"/>
                </a:cubicBezTo>
                <a:cubicBezTo>
                  <a:pt x="181" y="85"/>
                  <a:pt x="192" y="82"/>
                  <a:pt x="199" y="78"/>
                </a:cubicBezTo>
                <a:cubicBezTo>
                  <a:pt x="203" y="76"/>
                  <a:pt x="205" y="73"/>
                  <a:pt x="205" y="70"/>
                </a:cubicBezTo>
                <a:cubicBezTo>
                  <a:pt x="205" y="63"/>
                  <a:pt x="188" y="56"/>
                  <a:pt x="168" y="56"/>
                </a:cubicBezTo>
                <a:cubicBezTo>
                  <a:pt x="147" y="56"/>
                  <a:pt x="130" y="63"/>
                  <a:pt x="130" y="70"/>
                </a:cubicBezTo>
                <a:cubicBezTo>
                  <a:pt x="130" y="73"/>
                  <a:pt x="133" y="76"/>
                  <a:pt x="137" y="78"/>
                </a:cubicBezTo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txBody>
          <a:bodyPr vert="horz" wrap="square" lIns="76347" tIns="38174" rIns="76347" bIns="38174" numCol="1" anchor="t" anchorCtr="0" compatLnSpc="1">
            <a:prstTxWarp prst="textNoShape">
              <a:avLst/>
            </a:prstTxWarp>
          </a:bodyPr>
          <a:lstStyle/>
          <a:p>
            <a:endParaRPr lang="en-US" sz="1715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32" name="Прямоугольник 331">
            <a:extLst>
              <a:ext uri="{FF2B5EF4-FFF2-40B4-BE49-F238E27FC236}">
                <a16:creationId xmlns:a16="http://schemas.microsoft.com/office/drawing/2014/main" id="{1D5EA9D8-AEDA-4CCF-91D3-8E7BBA924DFB}"/>
              </a:ext>
            </a:extLst>
          </p:cNvPr>
          <p:cNvSpPr/>
          <p:nvPr/>
        </p:nvSpPr>
        <p:spPr>
          <a:xfrm>
            <a:off x="10345800" y="3691489"/>
            <a:ext cx="727759" cy="34293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uk-UA" sz="1400" b="1" dirty="0">
                <a:solidFill>
                  <a:schemeClr val="accent6">
                    <a:lumMod val="50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іні-гранти</a:t>
            </a:r>
            <a:endParaRPr lang="ru-RU" sz="1400" b="1" dirty="0">
              <a:solidFill>
                <a:schemeClr val="accent6">
                  <a:lumMod val="50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333" name="Рисунок 332">
            <a:extLst>
              <a:ext uri="{FF2B5EF4-FFF2-40B4-BE49-F238E27FC236}">
                <a16:creationId xmlns:a16="http://schemas.microsoft.com/office/drawing/2014/main" id="{280B814A-73EC-4748-A492-BE97037B5E6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5715" y="4763538"/>
            <a:ext cx="480106" cy="480106"/>
          </a:xfrm>
          <a:prstGeom prst="rect">
            <a:avLst/>
          </a:prstGeom>
          <a:effectLst/>
        </p:spPr>
      </p:pic>
      <p:pic>
        <p:nvPicPr>
          <p:cNvPr id="334" name="Рисунок 333">
            <a:extLst>
              <a:ext uri="{FF2B5EF4-FFF2-40B4-BE49-F238E27FC236}">
                <a16:creationId xmlns:a16="http://schemas.microsoft.com/office/drawing/2014/main" id="{180DBE20-1318-48A3-A370-DEC62A0DDF46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5631" y="4103921"/>
            <a:ext cx="480106" cy="480106"/>
          </a:xfrm>
          <a:prstGeom prst="rect">
            <a:avLst/>
          </a:prstGeom>
          <a:effectLst/>
        </p:spPr>
      </p:pic>
      <p:pic>
        <p:nvPicPr>
          <p:cNvPr id="3080" name="Picture 8" descr="Файл:Логотип сервісу Дія.svg — Вікіпедія">
            <a:extLst>
              <a:ext uri="{FF2B5EF4-FFF2-40B4-BE49-F238E27FC236}">
                <a16:creationId xmlns:a16="http://schemas.microsoft.com/office/drawing/2014/main" id="{5F4A2602-F2C7-4D41-937C-07E063BFCD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5252" y="1889661"/>
            <a:ext cx="617126" cy="274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Скругленный прямоугольник 145">
            <a:extLst>
              <a:ext uri="{FF2B5EF4-FFF2-40B4-BE49-F238E27FC236}">
                <a16:creationId xmlns:a16="http://schemas.microsoft.com/office/drawing/2014/main" id="{16E9C22D-D832-4ED2-BF03-9F789941833D}"/>
              </a:ext>
            </a:extLst>
          </p:cNvPr>
          <p:cNvSpPr/>
          <p:nvPr/>
        </p:nvSpPr>
        <p:spPr>
          <a:xfrm>
            <a:off x="7788714" y="1988484"/>
            <a:ext cx="4252020" cy="927330"/>
          </a:xfrm>
          <a:prstGeom prst="roundRect">
            <a:avLst>
              <a:gd name="adj" fmla="val 0"/>
            </a:avLst>
          </a:prstGeom>
          <a:noFill/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3" tIns="34293" rIns="34293" bIns="34293" rtlCol="0" anchor="ctr"/>
          <a:lstStyle/>
          <a:p>
            <a:pPr algn="ctr"/>
            <a:r>
              <a:rPr lang="uk-UA" sz="2286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50 грантів</a:t>
            </a:r>
          </a:p>
          <a:p>
            <a:pPr algn="ctr"/>
            <a:r>
              <a:rPr lang="uk-UA" sz="2286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озміром до 4 000 євро </a:t>
            </a:r>
            <a:r>
              <a:rPr lang="uk-UA" sz="171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без ПДВ)</a:t>
            </a:r>
          </a:p>
        </p:txBody>
      </p:sp>
      <p:sp>
        <p:nvSpPr>
          <p:cNvPr id="61" name="Прямоугольник 2"/>
          <p:cNvSpPr/>
          <p:nvPr/>
        </p:nvSpPr>
        <p:spPr>
          <a:xfrm>
            <a:off x="-314835" y="58927"/>
            <a:ext cx="1066063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b="1" dirty="0" smtClean="0">
                <a:solidFill>
                  <a:srgbClr val="FF0000"/>
                </a:solidFill>
                <a:latin typeface="Arial Black" pitchFamily="34" charset="0"/>
              </a:rPr>
              <a:t>  </a:t>
            </a:r>
            <a:r>
              <a:rPr lang="en-US" sz="3600" b="1" dirty="0" smtClean="0">
                <a:solidFill>
                  <a:srgbClr val="C00000"/>
                </a:solidFill>
                <a:latin typeface="Arial Black" pitchFamily="34" charset="0"/>
              </a:rPr>
              <a:t>NEW </a:t>
            </a:r>
            <a:r>
              <a:rPr lang="ru-RU" sz="3600" dirty="0" smtClean="0">
                <a:latin typeface="Arial Black" pitchFamily="34" charset="0"/>
              </a:rPr>
              <a:t>ГРАНТОВА</a:t>
            </a:r>
            <a:r>
              <a:rPr lang="ru-RU" sz="3600" b="1" dirty="0" smtClean="0">
                <a:latin typeface="Arial Black" pitchFamily="34" charset="0"/>
              </a:rPr>
              <a:t> ПРОГРАМА </a:t>
            </a:r>
            <a:r>
              <a:rPr lang="uk-UA" sz="3600" b="1" dirty="0" smtClean="0">
                <a:latin typeface="Arial Black" pitchFamily="34" charset="0"/>
              </a:rPr>
              <a:t>від</a:t>
            </a:r>
            <a:r>
              <a:rPr lang="ru-RU" sz="3600" b="1" dirty="0" smtClean="0">
                <a:latin typeface="Arial Black" pitchFamily="34" charset="0"/>
              </a:rPr>
              <a:t> </a:t>
            </a:r>
            <a:r>
              <a:rPr lang="en-US" sz="3600" b="1" dirty="0" smtClean="0">
                <a:latin typeface="Arial Black" pitchFamily="34" charset="0"/>
              </a:rPr>
              <a:t>GIZ</a:t>
            </a:r>
            <a:endParaRPr lang="ru-RU" sz="3600" b="1" dirty="0">
              <a:latin typeface="Arial Black" pitchFamily="34" charset="0"/>
            </a:endParaRPr>
          </a:p>
        </p:txBody>
      </p:sp>
      <p:pic>
        <p:nvPicPr>
          <p:cNvPr id="50" name="Рисунок 49"/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55280" y="77999"/>
            <a:ext cx="985454" cy="553998"/>
          </a:xfrm>
          <a:prstGeom prst="rect">
            <a:avLst/>
          </a:prstGeom>
        </p:spPr>
      </p:pic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C13F1655-8EED-725C-47C4-44371E617CCF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723120" y="28516"/>
            <a:ext cx="1306997" cy="625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2276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extLst mod="1">
    <p:ext uri="{6950BFC3-D8DA-4A85-94F7-54DA5524770B}">
      <p188:commentRel xmlns:p188="http://schemas.microsoft.com/office/powerpoint/2018/8/main" xmlns="" r:id="rId18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1"/>
          <p:cNvSpPr/>
          <p:nvPr/>
        </p:nvSpPr>
        <p:spPr>
          <a:xfrm>
            <a:off x="-10633" y="-31284"/>
            <a:ext cx="12192000" cy="886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E0EB7AD-0776-4FA4-BABE-32343FA2F0BA}"/>
              </a:ext>
            </a:extLst>
          </p:cNvPr>
          <p:cNvSpPr txBox="1"/>
          <p:nvPr/>
        </p:nvSpPr>
        <p:spPr>
          <a:xfrm>
            <a:off x="2481026" y="5707389"/>
            <a:ext cx="6980510" cy="13516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R="0" lvl="0" algn="ctr" fontAlgn="auto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lang="uk-UA" sz="4800" noProof="0" dirty="0">
                <a:solidFill>
                  <a:schemeClr val="bg1"/>
                </a:solidFill>
                <a:latin typeface="Arial Black" panose="020B0A04020102020204" pitchFamily="34" charset="0"/>
              </a:rPr>
              <a:t>Р</a:t>
            </a:r>
            <a:r>
              <a:rPr kumimoji="0" lang="uk-UA" sz="4800" strike="noStrike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</a:rPr>
              <a:t>азом до </a:t>
            </a:r>
            <a:r>
              <a:rPr lang="uk-UA" sz="4800" dirty="0">
                <a:solidFill>
                  <a:schemeClr val="bg1"/>
                </a:solidFill>
                <a:latin typeface="Arial Black" panose="020B0A04020102020204" pitchFamily="34" charset="0"/>
              </a:rPr>
              <a:t>Перемоги</a:t>
            </a:r>
            <a:endParaRPr kumimoji="0" lang="en-US" sz="4800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A04020102020204" pitchFamily="34" charset="0"/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817B597-01A5-43A4-7826-279F8E852E6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762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>
              <a:noFill/>
            </a:endParaRPr>
          </a:p>
        </p:txBody>
      </p:sp>
      <p:pic>
        <p:nvPicPr>
          <p:cNvPr id="102" name="Рисунок 101" descr="Изображение выглядит как текст&#10;&#10;Автоматически созданное описание">
            <a:extLst>
              <a:ext uri="{FF2B5EF4-FFF2-40B4-BE49-F238E27FC236}">
                <a16:creationId xmlns:a16="http://schemas.microsoft.com/office/drawing/2014/main" id="{22528B45-E3F5-B3CF-522C-894F6417785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0742" y="1365508"/>
            <a:ext cx="5429250" cy="355282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0880" y="117107"/>
            <a:ext cx="1148080" cy="58991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C13F1655-8EED-725C-47C4-44371E617C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57360" y="117107"/>
            <a:ext cx="1493520" cy="589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9278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8376"/>
            <a:ext cx="12192000" cy="889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52412" y="113291"/>
            <a:ext cx="466506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36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ОЩАДБАНК 2023</a:t>
            </a:r>
            <a:endParaRPr kumimoji="0" lang="ru-RU" sz="36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itchFamily="34" charset="0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6403449" y="5906225"/>
            <a:ext cx="2168658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1 700+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ідділень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найбільша в Україні)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473164" y="4183542"/>
            <a:ext cx="205843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59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інкасацій підприємств здійснюється Ощадом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403449" y="4183542"/>
            <a:ext cx="193436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70 тис+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S-</a:t>
            </a:r>
            <a:r>
              <a:rPr kumimoji="0" lang="uk-UA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ерміналів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403449" y="2340925"/>
            <a:ext cx="2537351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понад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200</a:t>
            </a: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тис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ідприємств обслуговуються в Ощаді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9473164" y="2342587"/>
            <a:ext cx="2528325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понад 1,2 млн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ацівників підприємств отримують ЗП в рамках ЗКП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473164" y="5906225"/>
            <a:ext cx="15210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3 300+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нкоматів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03449" y="1532108"/>
            <a:ext cx="702559" cy="7056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57102" y="3370627"/>
            <a:ext cx="702559" cy="705600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2428" y="5061131"/>
            <a:ext cx="705600" cy="7056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3949" y="1575030"/>
            <a:ext cx="705600" cy="70560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7490" y="3370627"/>
            <a:ext cx="702559" cy="705600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73164" y="5061131"/>
            <a:ext cx="705600" cy="705600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FB0AA0C-B8C3-893C-8A8B-EA69151AC5E9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12" y="1737360"/>
            <a:ext cx="5937256" cy="4317999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7E90E18-ABC5-A37E-EA42-7826C0D0032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81361" y="198830"/>
            <a:ext cx="1150634" cy="610750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C13F1655-8EED-725C-47C4-44371E617CC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30980" y="161317"/>
            <a:ext cx="1706346" cy="67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9698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Прямоугольник 1"/>
          <p:cNvSpPr/>
          <p:nvPr/>
        </p:nvSpPr>
        <p:spPr>
          <a:xfrm>
            <a:off x="0" y="-14944"/>
            <a:ext cx="12192000" cy="9829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07316" y="122825"/>
            <a:ext cx="619592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3600" b="1" dirty="0" smtClean="0">
                <a:latin typeface="Arial Black" pitchFamily="34" charset="0"/>
              </a:rPr>
              <a:t>КРЕДИТУВАННЯ ММСБ</a:t>
            </a:r>
            <a:endParaRPr lang="ru-RU" sz="3600" dirty="0">
              <a:latin typeface="Arial Black" pitchFamily="34" charset="0"/>
            </a:endParaRPr>
          </a:p>
        </p:txBody>
      </p:sp>
      <p:grpSp>
        <p:nvGrpSpPr>
          <p:cNvPr id="9" name="Групувати 8"/>
          <p:cNvGrpSpPr/>
          <p:nvPr/>
        </p:nvGrpSpPr>
        <p:grpSpPr>
          <a:xfrm>
            <a:off x="40581" y="3174574"/>
            <a:ext cx="2198595" cy="1393259"/>
            <a:chOff x="-17764" y="3163868"/>
            <a:chExt cx="2844850" cy="1543410"/>
          </a:xfrm>
        </p:grpSpPr>
        <p:sp>
          <p:nvSpPr>
            <p:cNvPr id="2" name="Прямоугольник 1"/>
            <p:cNvSpPr/>
            <p:nvPr/>
          </p:nvSpPr>
          <p:spPr>
            <a:xfrm>
              <a:off x="-17764" y="4127671"/>
              <a:ext cx="2844850" cy="579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uk-UA" sz="1400" b="1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Державна програма 5-7-9 </a:t>
              </a:r>
            </a:p>
          </p:txBody>
        </p:sp>
        <p:pic>
          <p:nvPicPr>
            <p:cNvPr id="16" name="Рисунок 15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3085" y="3163868"/>
              <a:ext cx="1622904" cy="915470"/>
            </a:xfrm>
            <a:prstGeom prst="rect">
              <a:avLst/>
            </a:prstGeom>
          </p:spPr>
        </p:pic>
      </p:grpSp>
      <p:grpSp>
        <p:nvGrpSpPr>
          <p:cNvPr id="8" name="Групувати 7"/>
          <p:cNvGrpSpPr/>
          <p:nvPr/>
        </p:nvGrpSpPr>
        <p:grpSpPr>
          <a:xfrm>
            <a:off x="4948595" y="3114828"/>
            <a:ext cx="1947922" cy="1244259"/>
            <a:chOff x="7064641" y="4685086"/>
            <a:chExt cx="2520495" cy="1378353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7064641" y="5483831"/>
              <a:ext cx="2520495" cy="5796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uk-UA" sz="1400" b="1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Державна </a:t>
              </a:r>
              <a:r>
                <a:rPr lang="uk-UA" sz="1400" b="1" dirty="0" smtClean="0">
                  <a:solidFill>
                    <a:schemeClr val="bg1"/>
                  </a:solidFill>
                  <a:latin typeface="Arial Black" panose="020B0A04020102020204" pitchFamily="34" charset="0"/>
                </a:rPr>
                <a:t>гарантія</a:t>
              </a:r>
              <a:endParaRPr lang="uk-UA" sz="1100" dirty="0">
                <a:solidFill>
                  <a:schemeClr val="bg1"/>
                </a:solidFill>
              </a:endParaRPr>
            </a:p>
          </p:txBody>
        </p:sp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55871" y="4685086"/>
              <a:ext cx="1211265" cy="791083"/>
            </a:xfrm>
            <a:prstGeom prst="rect">
              <a:avLst/>
            </a:prstGeom>
          </p:spPr>
        </p:pic>
      </p:grpSp>
      <p:grpSp>
        <p:nvGrpSpPr>
          <p:cNvPr id="7" name="Групувати 6"/>
          <p:cNvGrpSpPr/>
          <p:nvPr/>
        </p:nvGrpSpPr>
        <p:grpSpPr>
          <a:xfrm>
            <a:off x="6922031" y="2999176"/>
            <a:ext cx="2013964" cy="1400480"/>
            <a:chOff x="3106128" y="4685086"/>
            <a:chExt cx="2605949" cy="1551410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3106128" y="5656889"/>
              <a:ext cx="2605949" cy="5796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uk-UA" sz="1400" b="1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Експортна кредитна агенція </a:t>
              </a:r>
              <a:endParaRPr lang="uk-UA" sz="1100" dirty="0">
                <a:solidFill>
                  <a:schemeClr val="bg1"/>
                </a:solidFill>
              </a:endParaRPr>
            </a:p>
          </p:txBody>
        </p:sp>
        <p:pic>
          <p:nvPicPr>
            <p:cNvPr id="18" name="Рисунок 3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31604" y="5186496"/>
              <a:ext cx="1143461" cy="4491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20491" y="4685086"/>
              <a:ext cx="573714" cy="471009"/>
            </a:xfrm>
            <a:prstGeom prst="rect">
              <a:avLst/>
            </a:prstGeom>
          </p:spPr>
        </p:pic>
      </p:grpSp>
      <p:sp>
        <p:nvSpPr>
          <p:cNvPr id="33" name="Прямоугольник 5">
            <a:extLst>
              <a:ext uri="{FF2B5EF4-FFF2-40B4-BE49-F238E27FC236}">
                <a16:creationId xmlns:a16="http://schemas.microsoft.com/office/drawing/2014/main" id="{F03A8124-C07F-D3BE-C62D-37C0781766BD}"/>
              </a:ext>
            </a:extLst>
          </p:cNvPr>
          <p:cNvSpPr/>
          <p:nvPr/>
        </p:nvSpPr>
        <p:spPr>
          <a:xfrm>
            <a:off x="-71216" y="1091101"/>
            <a:ext cx="643637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144" lvl="1" algn="ctr" defTabSz="914286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uk-UA" sz="3200" b="1" dirty="0">
                <a:solidFill>
                  <a:schemeClr val="bg1"/>
                </a:solidFill>
                <a:latin typeface="Arial Black" panose="020B0A04020102020204" pitchFamily="34" charset="0"/>
              </a:rPr>
              <a:t>15% </a:t>
            </a:r>
            <a:r>
              <a:rPr lang="uk-UA" sz="3200" b="1" dirty="0" smtClean="0">
                <a:solidFill>
                  <a:schemeClr val="bg1"/>
                </a:solidFill>
                <a:latin typeface="Arial Black" panose="020B0A04020102020204" pitchFamily="34" charset="0"/>
              </a:rPr>
              <a:t>економіки </a:t>
            </a:r>
            <a:r>
              <a:rPr lang="uk-UA" sz="3200" b="1" dirty="0">
                <a:solidFill>
                  <a:schemeClr val="bg1"/>
                </a:solidFill>
                <a:latin typeface="Arial Black" panose="020B0A04020102020204" pitchFamily="34" charset="0"/>
              </a:rPr>
              <a:t>України</a:t>
            </a:r>
            <a:r>
              <a:rPr lang="uk-UA" sz="2400" b="1" dirty="0" smtClean="0">
                <a:solidFill>
                  <a:schemeClr val="bg1"/>
                </a:solidFill>
              </a:rPr>
              <a:t> </a:t>
            </a:r>
            <a:r>
              <a:rPr lang="uk-UA" sz="2400" b="1" dirty="0">
                <a:solidFill>
                  <a:srgbClr val="D4CE42"/>
                </a:solidFill>
                <a:latin typeface="Arial Black" panose="020B0A04020102020204" pitchFamily="34" charset="0"/>
              </a:rPr>
              <a:t>фінансується</a:t>
            </a:r>
          </a:p>
          <a:p>
            <a:pPr marL="457144" lvl="1" algn="ctr" defTabSz="914286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uk-UA" sz="2400" b="1" dirty="0">
                <a:solidFill>
                  <a:schemeClr val="bg1"/>
                </a:solidFill>
              </a:rPr>
              <a:t>Ощадбанком</a:t>
            </a:r>
            <a:endParaRPr lang="uk-UA" sz="1600" b="1" dirty="0">
              <a:solidFill>
                <a:schemeClr val="bg1"/>
              </a:solidFill>
            </a:endParaRPr>
          </a:p>
        </p:txBody>
      </p:sp>
      <p:sp>
        <p:nvSpPr>
          <p:cNvPr id="34" name="Прямоугольник 263">
            <a:extLst>
              <a:ext uri="{FF2B5EF4-FFF2-40B4-BE49-F238E27FC236}">
                <a16:creationId xmlns:a16="http://schemas.microsoft.com/office/drawing/2014/main" id="{CED224F7-1A6B-8448-A2DC-6DF33366A671}"/>
              </a:ext>
            </a:extLst>
          </p:cNvPr>
          <p:cNvSpPr/>
          <p:nvPr/>
        </p:nvSpPr>
        <p:spPr>
          <a:xfrm>
            <a:off x="6569272" y="1127729"/>
            <a:ext cx="4997951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144" lvl="1" algn="ctr" defTabSz="914286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uk-UA" sz="4000" b="1" dirty="0">
                <a:solidFill>
                  <a:schemeClr val="bg1"/>
                </a:solidFill>
                <a:latin typeface="Arial Black" panose="020B0A04020102020204" pitchFamily="34" charset="0"/>
              </a:rPr>
              <a:t>1</a:t>
            </a:r>
            <a:r>
              <a:rPr lang="en-US" sz="4000" b="1" dirty="0">
                <a:solidFill>
                  <a:schemeClr val="bg1"/>
                </a:solidFill>
                <a:latin typeface="Arial Black" panose="020B0A04020102020204" pitchFamily="34" charset="0"/>
              </a:rPr>
              <a:t>5</a:t>
            </a:r>
            <a:r>
              <a:rPr lang="uk-UA" sz="4000" b="1" dirty="0">
                <a:solidFill>
                  <a:schemeClr val="bg1"/>
                </a:solidFill>
                <a:latin typeface="Arial Black" panose="020B0A04020102020204" pitchFamily="34" charset="0"/>
              </a:rPr>
              <a:t> млрд </a:t>
            </a:r>
            <a:r>
              <a:rPr lang="en-US" sz="4000" b="1" dirty="0">
                <a:solidFill>
                  <a:schemeClr val="bg1"/>
                </a:solidFill>
                <a:latin typeface="Arial Black" panose="020B0A04020102020204" pitchFamily="34" charset="0"/>
              </a:rPr>
              <a:t>UAH</a:t>
            </a:r>
            <a:endParaRPr lang="uk-UA" sz="4000" b="1" dirty="0">
              <a:solidFill>
                <a:schemeClr val="bg1"/>
              </a:solidFill>
              <a:latin typeface="Arial Black" panose="020B0A04020102020204" pitchFamily="34" charset="0"/>
            </a:endParaRPr>
          </a:p>
          <a:p>
            <a:pPr marL="457144" lvl="1" algn="ctr" defTabSz="914286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uk-UA" sz="2800" b="1" dirty="0">
                <a:solidFill>
                  <a:schemeClr val="bg1"/>
                </a:solidFill>
              </a:rPr>
              <a:t> виданих кредитів</a:t>
            </a:r>
          </a:p>
        </p:txBody>
      </p:sp>
      <p:grpSp>
        <p:nvGrpSpPr>
          <p:cNvPr id="12" name="Групувати 11"/>
          <p:cNvGrpSpPr/>
          <p:nvPr/>
        </p:nvGrpSpPr>
        <p:grpSpPr>
          <a:xfrm>
            <a:off x="2494588" y="3174574"/>
            <a:ext cx="2254364" cy="1225082"/>
            <a:chOff x="2252179" y="2975283"/>
            <a:chExt cx="2254364" cy="1225082"/>
          </a:xfrm>
        </p:grpSpPr>
        <p:grpSp>
          <p:nvGrpSpPr>
            <p:cNvPr id="10" name="Групувати 9"/>
            <p:cNvGrpSpPr/>
            <p:nvPr/>
          </p:nvGrpSpPr>
          <p:grpSpPr>
            <a:xfrm>
              <a:off x="2265704" y="2975283"/>
              <a:ext cx="2240839" cy="631774"/>
              <a:chOff x="3194425" y="3398226"/>
              <a:chExt cx="3788763" cy="914500"/>
            </a:xfrm>
          </p:grpSpPr>
          <p:pic>
            <p:nvPicPr>
              <p:cNvPr id="35" name="Picture 2" descr="logo-eib-the-EU-bank_en"/>
              <p:cNvPicPr/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0268" r="63072" b="19424"/>
              <a:stretch>
                <a:fillRect/>
              </a:stretch>
            </p:blipFill>
            <p:spPr bwMode="auto">
              <a:xfrm>
                <a:off x="3194425" y="3398226"/>
                <a:ext cx="1840995" cy="914500"/>
              </a:xfrm>
              <a:prstGeom prst="rect">
                <a:avLst/>
              </a:prstGeom>
              <a:noFill/>
              <a:ln>
                <a:solidFill>
                  <a:schemeClr val="bg2">
                    <a:lumMod val="75000"/>
                  </a:schemeClr>
                </a:solidFill>
              </a:ln>
            </p:spPr>
          </p:pic>
          <p:pic>
            <p:nvPicPr>
              <p:cNvPr id="36" name="Picture 3" descr="C:\Users\Barteas\AppData\Local\Microsoft\Windows\Temporary Internet Files\Content.Outlook\KGO8XPVQ\EIF Logo standard (RGB).jpg"/>
              <p:cNvPicPr/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45950" y="3401707"/>
                <a:ext cx="1837238" cy="907537"/>
              </a:xfrm>
              <a:prstGeom prst="rect">
                <a:avLst/>
              </a:prstGeom>
              <a:noFill/>
              <a:ln>
                <a:solidFill>
                  <a:schemeClr val="bg2">
                    <a:lumMod val="75000"/>
                  </a:schemeClr>
                </a:solidFill>
              </a:ln>
            </p:spPr>
          </p:pic>
        </p:grpSp>
        <p:sp>
          <p:nvSpPr>
            <p:cNvPr id="37" name="Прямоугольник 1"/>
            <p:cNvSpPr/>
            <p:nvPr/>
          </p:nvSpPr>
          <p:spPr>
            <a:xfrm>
              <a:off x="2252179" y="3892588"/>
              <a:ext cx="2198595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uk-UA" sz="1400" b="1" dirty="0" smtClean="0">
                  <a:solidFill>
                    <a:schemeClr val="bg1"/>
                  </a:solidFill>
                  <a:latin typeface="Arial Black" panose="020B0A04020102020204" pitchFamily="34" charset="0"/>
                </a:rPr>
                <a:t>Гарантії ЄІФ/ЄІБ</a:t>
              </a:r>
              <a:endParaRPr lang="uk-UA" sz="1400" b="1" dirty="0">
                <a:solidFill>
                  <a:schemeClr val="bg1"/>
                </a:solidFill>
                <a:latin typeface="Arial Black" panose="020B0A04020102020204" pitchFamily="34" charset="0"/>
              </a:endParaRPr>
            </a:p>
          </p:txBody>
        </p:sp>
      </p:grpSp>
      <p:grpSp>
        <p:nvGrpSpPr>
          <p:cNvPr id="11" name="Групувати 10"/>
          <p:cNvGrpSpPr/>
          <p:nvPr/>
        </p:nvGrpSpPr>
        <p:grpSpPr>
          <a:xfrm>
            <a:off x="9057662" y="3206641"/>
            <a:ext cx="2844850" cy="1232057"/>
            <a:chOff x="297137" y="5373629"/>
            <a:chExt cx="2844850" cy="1232057"/>
          </a:xfrm>
        </p:grpSpPr>
        <p:sp>
          <p:nvSpPr>
            <p:cNvPr id="38" name="Прямоугольник 1"/>
            <p:cNvSpPr/>
            <p:nvPr/>
          </p:nvSpPr>
          <p:spPr>
            <a:xfrm>
              <a:off x="297137" y="6082466"/>
              <a:ext cx="2844850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uk-UA" sz="1400" b="1" dirty="0" smtClean="0">
                  <a:solidFill>
                    <a:schemeClr val="bg1"/>
                  </a:solidFill>
                  <a:latin typeface="Arial Black" panose="020B0A04020102020204" pitchFamily="34" charset="0"/>
                </a:rPr>
                <a:t>Енергозабезпечення діяльності бізнесу</a:t>
              </a:r>
              <a:endParaRPr lang="uk-UA" sz="1400" b="1" dirty="0">
                <a:solidFill>
                  <a:schemeClr val="bg1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39" name="Прямоугольник: скругленные углы 231">
              <a:extLst>
                <a:ext uri="{FF2B5EF4-FFF2-40B4-BE49-F238E27FC236}">
                  <a16:creationId xmlns:a16="http://schemas.microsoft.com/office/drawing/2014/main" id="{6201DAAF-D3B1-04FA-FE75-213CCFE7E539}"/>
                </a:ext>
              </a:extLst>
            </p:cNvPr>
            <p:cNvSpPr/>
            <p:nvPr/>
          </p:nvSpPr>
          <p:spPr>
            <a:xfrm>
              <a:off x="1240732" y="5373629"/>
              <a:ext cx="910857" cy="708837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uk-UA" dirty="0">
                <a:solidFill>
                  <a:schemeClr val="tx1"/>
                </a:solidFill>
              </a:endParaRPr>
            </a:p>
          </p:txBody>
        </p:sp>
        <p:pic>
          <p:nvPicPr>
            <p:cNvPr id="40" name="Рисунок 39" descr="Лампочка и шестеренка со сплошной заливкой">
              <a:extLst>
                <a:ext uri="{FF2B5EF4-FFF2-40B4-BE49-F238E27FC236}">
                  <a16:creationId xmlns:a16="http://schemas.microsoft.com/office/drawing/2014/main" id="{7565A08D-F179-9A55-5DB8-F93BECE8D83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442753" y="5460461"/>
              <a:ext cx="533723" cy="533723"/>
            </a:xfrm>
            <a:prstGeom prst="rect">
              <a:avLst/>
            </a:prstGeom>
          </p:spPr>
        </p:pic>
      </p:grpSp>
      <p:sp>
        <p:nvSpPr>
          <p:cNvPr id="50" name="Прямоугольник 2">
            <a:extLst>
              <a:ext uri="{FF2B5EF4-FFF2-40B4-BE49-F238E27FC236}">
                <a16:creationId xmlns:a16="http://schemas.microsoft.com/office/drawing/2014/main" id="{C7A0CE79-417F-95C5-BD95-EE0DB500CA4C}"/>
              </a:ext>
            </a:extLst>
          </p:cNvPr>
          <p:cNvSpPr/>
          <p:nvPr/>
        </p:nvSpPr>
        <p:spPr>
          <a:xfrm>
            <a:off x="6917381" y="4766829"/>
            <a:ext cx="200732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indent="-371475" algn="ctr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uk-UA" sz="6000" b="1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8</a:t>
            </a:r>
            <a:r>
              <a:rPr lang="uk-UA" sz="4800" b="1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uk-UA" sz="4800" b="1" dirty="0">
              <a:solidFill>
                <a:srgbClr val="D4CE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algn="ctr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uk-UA" sz="2400" b="1" dirty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 </a:t>
            </a:r>
          </a:p>
          <a:p>
            <a:pPr lvl="1" indent="-457200" algn="ctr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en-US" sz="2400" b="1" dirty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AH</a:t>
            </a:r>
            <a:r>
              <a:rPr lang="uk-UA" sz="2400" b="1" dirty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400" b="1" dirty="0">
              <a:solidFill>
                <a:srgbClr val="D4CE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Прямоугольник 2">
            <a:extLst>
              <a:ext uri="{FF2B5EF4-FFF2-40B4-BE49-F238E27FC236}">
                <a16:creationId xmlns:a16="http://schemas.microsoft.com/office/drawing/2014/main" id="{C7A0CE79-417F-95C5-BD95-EE0DB500CA4C}"/>
              </a:ext>
            </a:extLst>
          </p:cNvPr>
          <p:cNvSpPr/>
          <p:nvPr/>
        </p:nvSpPr>
        <p:spPr>
          <a:xfrm>
            <a:off x="9370794" y="4766829"/>
            <a:ext cx="200732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indent="-371475" algn="ctr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uk-UA" sz="6000" b="1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</a:t>
            </a:r>
            <a:r>
              <a:rPr lang="uk-UA" sz="4800" b="1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uk-UA" sz="4800" b="1" dirty="0">
              <a:solidFill>
                <a:srgbClr val="D4CE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algn="ctr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uk-UA" sz="2400" b="1" dirty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 </a:t>
            </a:r>
          </a:p>
          <a:p>
            <a:pPr lvl="1" indent="-457200" algn="ctr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en-US" sz="2400" b="1" dirty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AH</a:t>
            </a:r>
            <a:r>
              <a:rPr lang="uk-UA" sz="2400" b="1" dirty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400" b="1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Прямоугольник 2">
            <a:extLst>
              <a:ext uri="{FF2B5EF4-FFF2-40B4-BE49-F238E27FC236}">
                <a16:creationId xmlns:a16="http://schemas.microsoft.com/office/drawing/2014/main" id="{C7A0CE79-417F-95C5-BD95-EE0DB500CA4C}"/>
              </a:ext>
            </a:extLst>
          </p:cNvPr>
          <p:cNvSpPr/>
          <p:nvPr/>
        </p:nvSpPr>
        <p:spPr>
          <a:xfrm>
            <a:off x="4835446" y="4766829"/>
            <a:ext cx="200732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indent="-371475" algn="ctr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uk-UA" sz="6000" b="1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,1</a:t>
            </a:r>
            <a:r>
              <a:rPr lang="uk-UA" sz="4800" b="1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uk-UA" sz="4800" b="1" dirty="0">
              <a:solidFill>
                <a:srgbClr val="D4CE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algn="ctr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uk-UA" sz="2400" b="1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 </a:t>
            </a:r>
          </a:p>
          <a:p>
            <a:pPr lvl="1" indent="-457200" algn="ctr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en-US" sz="2400" b="1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AH</a:t>
            </a:r>
            <a:r>
              <a:rPr lang="uk-UA" sz="2400" dirty="0" smtClean="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400" dirty="0">
              <a:solidFill>
                <a:schemeClr val="bg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Прямоугольник 2">
            <a:extLst>
              <a:ext uri="{FF2B5EF4-FFF2-40B4-BE49-F238E27FC236}">
                <a16:creationId xmlns:a16="http://schemas.microsoft.com/office/drawing/2014/main" id="{C7A0CE79-417F-95C5-BD95-EE0DB500CA4C}"/>
              </a:ext>
            </a:extLst>
          </p:cNvPr>
          <p:cNvSpPr/>
          <p:nvPr/>
        </p:nvSpPr>
        <p:spPr>
          <a:xfrm>
            <a:off x="-145995" y="4766829"/>
            <a:ext cx="240237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indent="-371475" algn="ctr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uk-UA" sz="6000" b="1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r>
              <a:rPr lang="uk-UA" sz="4800" b="1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uk-UA" sz="4800" b="1" dirty="0">
              <a:solidFill>
                <a:srgbClr val="D4CE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algn="ctr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uk-UA" sz="2400" b="1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 </a:t>
            </a:r>
          </a:p>
          <a:p>
            <a:pPr lvl="1" indent="-457200" algn="ctr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en-US" sz="2400" b="1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AH</a:t>
            </a:r>
            <a:r>
              <a:rPr lang="uk-UA" sz="2400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400" dirty="0">
              <a:solidFill>
                <a:srgbClr val="D4CE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Прямоугольник 2">
            <a:extLst>
              <a:ext uri="{FF2B5EF4-FFF2-40B4-BE49-F238E27FC236}">
                <a16:creationId xmlns:a16="http://schemas.microsoft.com/office/drawing/2014/main" id="{C7A0CE79-417F-95C5-BD95-EE0DB500CA4C}"/>
              </a:ext>
            </a:extLst>
          </p:cNvPr>
          <p:cNvSpPr/>
          <p:nvPr/>
        </p:nvSpPr>
        <p:spPr>
          <a:xfrm>
            <a:off x="2382033" y="4759462"/>
            <a:ext cx="200732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indent="-371475" algn="ctr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uk-UA" sz="6000" b="1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6</a:t>
            </a:r>
            <a:r>
              <a:rPr lang="uk-UA" sz="4800" b="1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uk-UA" sz="4800" b="1" dirty="0">
              <a:solidFill>
                <a:srgbClr val="D4CE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algn="ctr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uk-UA" sz="2400" b="1" dirty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 </a:t>
            </a:r>
            <a:endParaRPr lang="uk-UA" sz="2400" b="1" dirty="0" smtClean="0">
              <a:solidFill>
                <a:srgbClr val="D4CE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 algn="ctr" fontAlgn="base">
              <a:spcAft>
                <a:spcPct val="0"/>
              </a:spcAft>
              <a:buClr>
                <a:srgbClr val="06503C"/>
              </a:buClr>
              <a:defRPr/>
            </a:pPr>
            <a:r>
              <a:rPr lang="en-US" sz="2400" b="1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AH</a:t>
            </a:r>
            <a:r>
              <a:rPr lang="uk-UA" sz="2400" dirty="0" smtClean="0">
                <a:solidFill>
                  <a:srgbClr val="D4CE4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2400" dirty="0">
              <a:solidFill>
                <a:srgbClr val="D4CE4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D7E90E18-ABC5-A37E-EA42-7826C0D0032C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2115" y="96292"/>
            <a:ext cx="1143458" cy="610022"/>
          </a:xfrm>
          <a:prstGeom prst="rect">
            <a:avLst/>
          </a:prstGeom>
        </p:spPr>
      </p:pic>
      <p:pic>
        <p:nvPicPr>
          <p:cNvPr id="41" name="Рисунок 40">
            <a:extLst>
              <a:ext uri="{FF2B5EF4-FFF2-40B4-BE49-F238E27FC236}">
                <a16:creationId xmlns:a16="http://schemas.microsoft.com/office/drawing/2014/main" id="{C13F1655-8EED-725C-47C4-44371E617CC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168802" y="96292"/>
            <a:ext cx="1606886" cy="6361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663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"/>
          <p:cNvSpPr/>
          <p:nvPr/>
        </p:nvSpPr>
        <p:spPr>
          <a:xfrm>
            <a:off x="0" y="-8377"/>
            <a:ext cx="12192000" cy="9829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477520" y="5539964"/>
            <a:ext cx="4673600" cy="1046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defTabSz="913542" eaLnBrk="1" hangingPunct="1">
              <a:tabLst>
                <a:tab pos="275358" algn="l"/>
              </a:tabLst>
              <a:defRPr lang="x-none" sz="2000" b="0" baseline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2pPr>
            <a:lvl3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3pPr>
            <a:lvl4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4pPr>
            <a:lvl5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5pPr>
            <a:lvl6pPr marL="46648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6pPr>
            <a:lvl7pPr marL="93297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7pPr>
            <a:lvl8pPr marL="139946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8pPr>
            <a:lvl9pPr marL="186595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58" algn="l"/>
              </a:tabLst>
              <a:defRPr/>
            </a:pPr>
            <a:r>
              <a:rPr kumimoji="0" lang="uk-UA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  <a:sym typeface="Segoe UI" panose="020B0502040204020203" pitchFamily="34" charset="0"/>
              </a:rPr>
              <a:t>до </a:t>
            </a:r>
            <a:r>
              <a:rPr kumimoji="0" lang="uk-UA" sz="4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  <a:sym typeface="Segoe UI" panose="020B0502040204020203" pitchFamily="34" charset="0"/>
              </a:rPr>
              <a:t>90 </a:t>
            </a:r>
            <a:r>
              <a:rPr kumimoji="0" lang="uk-UA" sz="4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  <a:sym typeface="Segoe UI" panose="020B0502040204020203" pitchFamily="34" charset="0"/>
              </a:rPr>
              <a:t>млн</a:t>
            </a:r>
            <a:r>
              <a:rPr lang="uk-UA" sz="40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en-US" sz="40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UAH</a:t>
            </a:r>
            <a:r>
              <a:rPr kumimoji="0" lang="uk-UA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  <a:sym typeface="Segoe UI" panose="020B0502040204020203" pitchFamily="34" charset="0"/>
              </a:rPr>
              <a:t/>
            </a:r>
            <a:br>
              <a:rPr kumimoji="0" lang="uk-UA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  <a:sym typeface="Segoe UI" panose="020B0502040204020203" pitchFamily="34" charset="0"/>
              </a:rPr>
            </a:br>
            <a:r>
              <a:rPr kumimoji="0" lang="uk-UA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  <a:sym typeface="Segoe UI" panose="020B0502040204020203" pitchFamily="34" charset="0"/>
              </a:rPr>
              <a:t>на групу пов'язаних осіб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75921" y="3520829"/>
            <a:ext cx="5222240" cy="175432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tabLst/>
              <a:defRPr/>
            </a:pPr>
            <a:r>
              <a:rPr kumimoji="0" lang="uk-UA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грама діє </a:t>
            </a:r>
            <a:r>
              <a:rPr kumimoji="0" lang="uk-UA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ля</a:t>
            </a:r>
            <a:r>
              <a:rPr kumimoji="0" lang="uk-UA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</a:t>
            </a:r>
            <a:r>
              <a:rPr kumimoji="0" lang="uk-UA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ідприємств з річним доходом </a:t>
            </a:r>
            <a:r>
              <a:rPr kumimoji="0" lang="uk-UA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до 50 млн євро</a:t>
            </a:r>
            <a:endParaRPr kumimoji="0" lang="uk-UA" b="0" i="0" u="none" strike="noStrike" kern="1200" cap="none" spc="0" normalizeH="0" baseline="0" noProof="0" dirty="0">
              <a:ln w="12700" cmpd="sng">
                <a:solidFill>
                  <a:srgbClr val="3399FF"/>
                </a:solidFill>
                <a:prstDash val="solid"/>
              </a:ln>
              <a:solidFill>
                <a:schemeClr val="bg1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Arial" panose="020B0604020202020204" pitchFamily="34" charset="0"/>
              <a:sym typeface="Segoe UI" panose="020B0502040204020203" pitchFamily="34" charset="0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tabLst/>
              <a:defRPr/>
            </a:pPr>
            <a:endParaRPr kumimoji="0" lang="uk-UA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Segoe UI" panose="020B0502040204020203" pitchFamily="34" charset="0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tabLst/>
              <a:defRPr/>
            </a:pPr>
            <a:r>
              <a:rPr kumimoji="0" lang="uk-UA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Напрямки: </a:t>
            </a:r>
            <a:r>
              <a:rPr kumimoji="0" lang="uk-UA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агросектор, переробка продукції, розширення бізнесу, поповнення обігових коштів</a:t>
            </a:r>
          </a:p>
        </p:txBody>
      </p:sp>
      <p:sp>
        <p:nvSpPr>
          <p:cNvPr id="27" name="Округлений прямокутник 4"/>
          <p:cNvSpPr/>
          <p:nvPr/>
        </p:nvSpPr>
        <p:spPr>
          <a:xfrm>
            <a:off x="426720" y="1963846"/>
            <a:ext cx="5161279" cy="1008602"/>
          </a:xfrm>
          <a:prstGeom prst="roundRect">
            <a:avLst>
              <a:gd name="adj" fmla="val 26698"/>
            </a:avLst>
          </a:prstGeom>
          <a:solidFill>
            <a:srgbClr val="D4CD00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Пріоритетні напрямки </a:t>
            </a:r>
            <a:r>
              <a:rPr kumimoji="0" lang="uk-UA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– </a:t>
            </a:r>
            <a:r>
              <a:rPr kumimoji="0" lang="uk-UA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передбачає фінансування ММСБ – переробка, відбудова, посівна компанія</a:t>
            </a:r>
            <a:endParaRPr kumimoji="0" lang="uk-UA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Segoe UI" panose="020B0502040204020203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0" y="195450"/>
            <a:ext cx="851066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36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ФІНАНСУВАННЯ В</a:t>
            </a:r>
            <a:r>
              <a:rPr kumimoji="0" lang="uk-UA" sz="36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 ОЩАДБАНКУ</a:t>
            </a:r>
            <a:endParaRPr kumimoji="0" lang="ru-RU" sz="36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itchFamily="34" charset="0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75921" y="1165563"/>
            <a:ext cx="9148801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defTabSz="913542" eaLnBrk="1" hangingPunct="1">
              <a:tabLst>
                <a:tab pos="275358" algn="l"/>
              </a:tabLst>
              <a:defRPr lang="x-none" sz="2000" b="0" baseline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2pPr>
            <a:lvl3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3pPr>
            <a:lvl4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4pPr>
            <a:lvl5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5pPr>
            <a:lvl6pPr marL="46648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6pPr>
            <a:lvl7pPr marL="93297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7pPr>
            <a:lvl8pPr marL="139946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8pPr>
            <a:lvl9pPr marL="186595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58" algn="l"/>
              </a:tabLst>
              <a:defRPr/>
            </a:pPr>
            <a:r>
              <a:rPr kumimoji="0" lang="uk-UA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Helvetica Light"/>
              </a:rPr>
              <a:t>в рамках державної програми 5-7-9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3768672F-C891-60EE-8DC3-C8C180B726A0}"/>
              </a:ext>
            </a:extLst>
          </p:cNvPr>
          <p:cNvSpPr/>
          <p:nvPr/>
        </p:nvSpPr>
        <p:spPr>
          <a:xfrm>
            <a:off x="8461382" y="2550575"/>
            <a:ext cx="90060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5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</a:p>
        </p:txBody>
      </p:sp>
      <p:sp>
        <p:nvSpPr>
          <p:cNvPr id="26" name="Округлений прямокутник 4">
            <a:extLst>
              <a:ext uri="{FF2B5EF4-FFF2-40B4-BE49-F238E27FC236}">
                <a16:creationId xmlns:a16="http://schemas.microsoft.com/office/drawing/2014/main" id="{D04B792A-9A0F-61C1-6EE6-E974A7251CF9}"/>
              </a:ext>
            </a:extLst>
          </p:cNvPr>
          <p:cNvSpPr/>
          <p:nvPr/>
        </p:nvSpPr>
        <p:spPr>
          <a:xfrm>
            <a:off x="6665499" y="1963846"/>
            <a:ext cx="4053988" cy="788741"/>
          </a:xfrm>
          <a:prstGeom prst="roundRect">
            <a:avLst/>
          </a:prstGeom>
          <a:solidFill>
            <a:srgbClr val="2C51BF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uk-UA" sz="24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Програма 5-7-9</a:t>
            </a:r>
          </a:p>
        </p:txBody>
      </p:sp>
      <p:sp>
        <p:nvSpPr>
          <p:cNvPr id="28" name="Округлений прямокутник 4">
            <a:extLst>
              <a:ext uri="{FF2B5EF4-FFF2-40B4-BE49-F238E27FC236}">
                <a16:creationId xmlns:a16="http://schemas.microsoft.com/office/drawing/2014/main" id="{97F0BB9F-B352-3D2F-E85C-3E5721F2C48A}"/>
              </a:ext>
            </a:extLst>
          </p:cNvPr>
          <p:cNvSpPr/>
          <p:nvPr/>
        </p:nvSpPr>
        <p:spPr>
          <a:xfrm>
            <a:off x="6746240" y="3506263"/>
            <a:ext cx="4044900" cy="788741"/>
          </a:xfrm>
          <a:prstGeom prst="roundRect">
            <a:avLst/>
          </a:prstGeom>
          <a:solidFill>
            <a:srgbClr val="2C51BF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uk-UA" sz="24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Державні гарантії</a:t>
            </a:r>
            <a:r>
              <a:rPr lang="en-US" sz="24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uk-UA" sz="24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\ ЄІБ гарантії</a:t>
            </a:r>
          </a:p>
        </p:txBody>
      </p:sp>
      <p:sp>
        <p:nvSpPr>
          <p:cNvPr id="2" name="Прямоугольник 22">
            <a:extLst>
              <a:ext uri="{FF2B5EF4-FFF2-40B4-BE49-F238E27FC236}">
                <a16:creationId xmlns:a16="http://schemas.microsoft.com/office/drawing/2014/main" id="{F33721B5-0E62-2001-516A-47E449789752}"/>
              </a:ext>
            </a:extLst>
          </p:cNvPr>
          <p:cNvSpPr/>
          <p:nvPr/>
        </p:nvSpPr>
        <p:spPr>
          <a:xfrm>
            <a:off x="8402320" y="4264414"/>
            <a:ext cx="588623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uk-UA" sz="54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</a:p>
        </p:txBody>
      </p:sp>
      <p:sp>
        <p:nvSpPr>
          <p:cNvPr id="3" name="Округлений прямокутник 4">
            <a:extLst>
              <a:ext uri="{FF2B5EF4-FFF2-40B4-BE49-F238E27FC236}">
                <a16:creationId xmlns:a16="http://schemas.microsoft.com/office/drawing/2014/main" id="{EBF8AEEA-C613-F50B-48D0-33898B8DB43A}"/>
              </a:ext>
            </a:extLst>
          </p:cNvPr>
          <p:cNvSpPr/>
          <p:nvPr/>
        </p:nvSpPr>
        <p:spPr>
          <a:xfrm>
            <a:off x="6695440" y="5404182"/>
            <a:ext cx="4074160" cy="671498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uk-UA" sz="2400" b="1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Грантові програми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DCC9508-8373-034D-8480-34835724EF69}"/>
              </a:ext>
            </a:extLst>
          </p:cNvPr>
          <p:cNvSpPr txBox="1"/>
          <p:nvPr/>
        </p:nvSpPr>
        <p:spPr>
          <a:xfrm>
            <a:off x="6665499" y="5048212"/>
            <a:ext cx="414528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defTabSz="913542" eaLnBrk="1" hangingPunct="1">
              <a:tabLst>
                <a:tab pos="275358" algn="l"/>
              </a:tabLst>
              <a:defRPr lang="x-none" sz="2000" b="0" baseline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2pPr>
            <a:lvl3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3pPr>
            <a:lvl4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4pPr>
            <a:lvl5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5pPr>
            <a:lvl6pPr marL="46648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6pPr>
            <a:lvl7pPr marL="93297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7pPr>
            <a:lvl8pPr marL="139946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8pPr>
            <a:lvl9pPr marL="186595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58" algn="l"/>
              </a:tabLst>
              <a:defRPr/>
            </a:pP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cs typeface="Arial" panose="020B0604020202020204" pitchFamily="34" charset="0"/>
                <a:sym typeface="Segoe UI" panose="020B0502040204020203" pitchFamily="34" charset="0"/>
              </a:rPr>
              <a:t>МОЖЛИВІСТЬ </a:t>
            </a:r>
            <a:r>
              <a:rPr lang="uk-UA" sz="14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ПОЄДНАННЯ</a:t>
            </a:r>
            <a:endParaRPr kumimoji="0" lang="uk-UA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cs typeface="Arial" panose="020B0604020202020204" pitchFamily="34" charset="0"/>
              <a:sym typeface="Segoe UI" panose="020B0502040204020203" pitchFamily="34" charset="0"/>
            </a:endParaRPr>
          </a:p>
        </p:txBody>
      </p:sp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06BB4DC3-AFE9-3E7F-5601-735BFB6A5634}"/>
              </a:ext>
            </a:extLst>
          </p:cNvPr>
          <p:cNvSpPr/>
          <p:nvPr/>
        </p:nvSpPr>
        <p:spPr>
          <a:xfrm>
            <a:off x="6746240" y="6215197"/>
            <a:ext cx="1656080" cy="335280"/>
          </a:xfrm>
          <a:prstGeom prst="round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>
                <a:solidFill>
                  <a:schemeClr val="bg1"/>
                </a:solidFill>
              </a:rPr>
              <a:t>Державні</a:t>
            </a:r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D4957595-6507-E4D3-4076-CDE4CB50C9CE}"/>
              </a:ext>
            </a:extLst>
          </p:cNvPr>
          <p:cNvSpPr/>
          <p:nvPr/>
        </p:nvSpPr>
        <p:spPr>
          <a:xfrm>
            <a:off x="9144000" y="6215197"/>
            <a:ext cx="1595120" cy="325120"/>
          </a:xfrm>
          <a:prstGeom prst="round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b="1" dirty="0">
                <a:solidFill>
                  <a:schemeClr val="bg1"/>
                </a:solidFill>
              </a:rPr>
              <a:t>Міжнародні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D7E90E18-ABC5-A37E-EA42-7826C0D0032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54783" y="96292"/>
            <a:ext cx="1000789" cy="520203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C13F1655-8EED-725C-47C4-44371E617C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311471" y="31484"/>
            <a:ext cx="1743312" cy="674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3277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1"/>
          <p:cNvSpPr/>
          <p:nvPr/>
        </p:nvSpPr>
        <p:spPr>
          <a:xfrm>
            <a:off x="0" y="-35708"/>
            <a:ext cx="12192000" cy="9613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 flipH="1">
            <a:off x="-738151" y="2959654"/>
            <a:ext cx="4807924" cy="333162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051" y="3163106"/>
            <a:ext cx="1211265" cy="771856"/>
          </a:xfrm>
          <a:prstGeom prst="rect">
            <a:avLst/>
          </a:prstGeom>
        </p:spPr>
      </p:pic>
      <p:sp>
        <p:nvSpPr>
          <p:cNvPr id="34" name="Прямоугольник 33"/>
          <p:cNvSpPr/>
          <p:nvPr/>
        </p:nvSpPr>
        <p:spPr>
          <a:xfrm>
            <a:off x="1381541" y="4394633"/>
            <a:ext cx="3642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400" b="1" i="0" u="none" strike="noStrike" kern="1200" cap="none" spc="0" normalizeH="0" baseline="0" noProof="0" dirty="0">
                <a:ln>
                  <a:noFill/>
                </a:ln>
                <a:solidFill>
                  <a:srgbClr val="2C51B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</a:t>
            </a:r>
          </a:p>
        </p:txBody>
      </p:sp>
      <p:sp>
        <p:nvSpPr>
          <p:cNvPr id="35" name="Округлений прямокутник 4"/>
          <p:cNvSpPr/>
          <p:nvPr/>
        </p:nvSpPr>
        <p:spPr>
          <a:xfrm>
            <a:off x="457052" y="4098219"/>
            <a:ext cx="2035892" cy="404334"/>
          </a:xfrm>
          <a:prstGeom prst="roundRect">
            <a:avLst/>
          </a:prstGeom>
          <a:solidFill>
            <a:srgbClr val="2C51BF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Програма 5-7-9</a:t>
            </a:r>
          </a:p>
        </p:txBody>
      </p:sp>
      <p:sp>
        <p:nvSpPr>
          <p:cNvPr id="39" name="Округлений прямокутник 4"/>
          <p:cNvSpPr/>
          <p:nvPr/>
        </p:nvSpPr>
        <p:spPr>
          <a:xfrm>
            <a:off x="462013" y="4734768"/>
            <a:ext cx="2031328" cy="404334"/>
          </a:xfrm>
          <a:prstGeom prst="roundRect">
            <a:avLst/>
          </a:prstGeom>
          <a:solidFill>
            <a:srgbClr val="2C51BF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Державні гарантії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10173" y="141820"/>
            <a:ext cx="759053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4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Д</a:t>
            </a:r>
            <a:r>
              <a:rPr kumimoji="0" lang="uk-UA" sz="4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ержавна </a:t>
            </a:r>
            <a:r>
              <a:rPr kumimoji="0" lang="uk-UA" sz="4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програма 5-7-9</a:t>
            </a:r>
            <a:endParaRPr kumimoji="0" lang="ru-RU" sz="4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itchFamily="34" charset="0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287111" y="5250290"/>
            <a:ext cx="2682278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defTabSz="913542" eaLnBrk="1" hangingPunct="1">
              <a:tabLst>
                <a:tab pos="275358" algn="l"/>
              </a:tabLst>
              <a:defRPr lang="x-none" sz="2000" b="0" baseline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2pPr>
            <a:lvl3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3pPr>
            <a:lvl4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4pPr>
            <a:lvl5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5pPr>
            <a:lvl6pPr marL="46648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6pPr>
            <a:lvl7pPr marL="93297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7pPr>
            <a:lvl8pPr marL="139946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8pPr>
            <a:lvl9pPr marL="186595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58" algn="l"/>
              </a:tabLst>
              <a:defRPr/>
            </a:pPr>
            <a:r>
              <a:rPr kumimoji="0" lang="uk-U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процентна ставка:</a:t>
            </a:r>
          </a:p>
          <a:p>
            <a:pPr marL="285750" marR="0" lvl="0" indent="-28575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>
                <a:tab pos="275358" algn="l"/>
              </a:tabLst>
              <a:defRPr/>
            </a:pP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від 5% </a:t>
            </a: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- </a:t>
            </a: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в залежності від цілі</a:t>
            </a:r>
            <a:endParaRPr kumimoji="0" lang="uk-UA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egoe UI" panose="020B0502040204020203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876457" y="3804712"/>
            <a:ext cx="2645710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defTabSz="913542" eaLnBrk="1" hangingPunct="1">
              <a:tabLst>
                <a:tab pos="275358" algn="l"/>
              </a:tabLst>
              <a:defRPr lang="x-none" sz="2000" b="0" baseline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2pPr>
            <a:lvl3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3pPr>
            <a:lvl4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4pPr>
            <a:lvl5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5pPr>
            <a:lvl6pPr marL="46648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6pPr>
            <a:lvl7pPr marL="93297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7pPr>
            <a:lvl8pPr marL="139946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8pPr>
            <a:lvl9pPr marL="186595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58" algn="l"/>
              </a:tabLst>
              <a:defRPr/>
            </a:pPr>
            <a:r>
              <a:rPr kumimoji="0" lang="uk-U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сума кредиту </a:t>
            </a:r>
          </a:p>
          <a:p>
            <a:pPr marL="285750" marR="0" lvl="0" indent="-28575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>
                <a:tab pos="275358" algn="l"/>
              </a:tabLst>
              <a:defRPr/>
            </a:pPr>
            <a:r>
              <a:rPr kumimoji="0" lang="uk-U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до 60 млн. </a:t>
            </a:r>
            <a:r>
              <a:rPr kumimoji="0" lang="uk-UA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грн* </a:t>
            </a:r>
            <a:r>
              <a:rPr kumimoji="0" lang="uk-U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/>
            </a:r>
            <a:br>
              <a:rPr kumimoji="0" lang="uk-UA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</a:b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на групу пов'язаних осіб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287111" y="3844069"/>
            <a:ext cx="3240726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defTabSz="913542" eaLnBrk="1" hangingPunct="1">
              <a:tabLst>
                <a:tab pos="275358" algn="l"/>
              </a:tabLst>
              <a:defRPr lang="x-none" sz="2000" b="0" baseline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2pPr>
            <a:lvl3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3pPr>
            <a:lvl4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4pPr>
            <a:lvl5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5pPr>
            <a:lvl6pPr marL="46648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6pPr>
            <a:lvl7pPr marL="93297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7pPr>
            <a:lvl8pPr marL="139946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8pPr>
            <a:lvl9pPr marL="186595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58" algn="l"/>
              </a:tabLst>
              <a:defRPr/>
            </a:pPr>
            <a:r>
              <a:rPr kumimoji="0" lang="uk-U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строк кредитування</a:t>
            </a: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:</a:t>
            </a:r>
          </a:p>
          <a:p>
            <a:pPr marL="285750" marR="0" lvl="0" indent="-28575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>
                <a:tab pos="275358" algn="l"/>
              </a:tabLst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до 5 </a:t>
            </a: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років* </a:t>
            </a: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- інвестиційний кредит</a:t>
            </a:r>
          </a:p>
          <a:p>
            <a:pPr marL="285750" marR="0" lvl="0" indent="-28575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>
                <a:tab pos="275358" algn="l"/>
              </a:tabLst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до 3 </a:t>
            </a: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років* </a:t>
            </a: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- кредит на поповнення обігових коштів</a:t>
            </a:r>
          </a:p>
        </p:txBody>
      </p:sp>
      <p:sp>
        <p:nvSpPr>
          <p:cNvPr id="15" name="Прямокутник 1"/>
          <p:cNvSpPr/>
          <p:nvPr/>
        </p:nvSpPr>
        <p:spPr>
          <a:xfrm>
            <a:off x="8866861" y="5250290"/>
            <a:ext cx="29577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ісійна винагорода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1,5% </a:t>
            </a: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від суми кредиту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636034" y="2098684"/>
            <a:ext cx="8365077" cy="17235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грама діє </a:t>
            </a: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ля</a:t>
            </a: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</a:t>
            </a: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ідприємств з річним доходом </a:t>
            </a: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до 50 млн євро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Tx/>
              <a:buNone/>
              <a:tabLst/>
              <a:defRPr/>
            </a:pPr>
            <a:r>
              <a:rPr kumimoji="0" lang="uk-UA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        </a:t>
            </a:r>
          </a:p>
          <a:p>
            <a:pPr marL="285750" lvl="0" indent="-285750">
              <a:buClr>
                <a:srgbClr val="D4CD00"/>
              </a:buClr>
              <a:buFont typeface="Arial" panose="020B0604020202020204" pitchFamily="34" charset="0"/>
              <a:buChar char="•"/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Напрямки: </a:t>
            </a: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агросектор, переробка продукції, переміщення підприємств </a:t>
            </a:r>
            <a:b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</a:b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в безпечні регіони, відбудова, розширення бізнесу, поповнення обігових коштів, підтримка ФОП,  </a:t>
            </a:r>
            <a:r>
              <a:rPr lang="en-US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</a:t>
            </a:r>
            <a:r>
              <a:rPr lang="uk-UA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uk-UA" sz="1600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ідновлення, ремонт або заміна пошкодженої внаслідок бойових дій енергетичної інфраструктури теплових електростанцій та теплоелектроцентралей</a:t>
            </a:r>
            <a:endParaRPr lang="uk-UA" sz="1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Segoe UI" panose="020B0502040204020203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007038" y="6241129"/>
            <a:ext cx="10092713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95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    Максимальний строк </a:t>
            </a:r>
            <a:r>
              <a:rPr kumimoji="0" lang="uk-UA" sz="95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едитування для суб’єктів підприємництва – сільськогосподарських товаровиробників для провадження сільськогосподарської діяльності </a:t>
            </a:r>
            <a:r>
              <a:rPr kumimoji="0" lang="uk-UA" sz="95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    31.03.2024 року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95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</a:t>
            </a:r>
            <a:r>
              <a:rPr kumimoji="0" lang="uk-UA" sz="95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*  При фінансуванні </a:t>
            </a:r>
            <a:r>
              <a:rPr kumimoji="0" lang="uk-UA" sz="95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уб’єктів підприємництва – сільськогосподарських товаровиробників для провадження сільськогосподарської діяльності </a:t>
            </a:r>
            <a:r>
              <a:rPr kumimoji="0" lang="uk-UA" sz="95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ума кредиту – </a:t>
            </a:r>
            <a:r>
              <a:rPr kumimoji="0" lang="uk-UA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90</a:t>
            </a:r>
            <a:r>
              <a:rPr kumimoji="0" lang="uk-UA" sz="950" b="0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млн.грн.</a:t>
            </a:r>
            <a:endParaRPr kumimoji="0" lang="uk-UA" sz="95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7" name="Округлений прямокутник 4"/>
          <p:cNvSpPr/>
          <p:nvPr/>
        </p:nvSpPr>
        <p:spPr>
          <a:xfrm>
            <a:off x="3395892" y="1603758"/>
            <a:ext cx="8428757" cy="447471"/>
          </a:xfrm>
          <a:prstGeom prst="roundRect">
            <a:avLst>
              <a:gd name="adj" fmla="val 26698"/>
            </a:avLst>
          </a:prstGeom>
          <a:solidFill>
            <a:srgbClr val="D4CD00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Програма </a:t>
            </a: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– передбачає фінансування суб’єктів </a:t>
            </a: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підприємництва</a:t>
            </a:r>
            <a:endParaRPr kumimoji="0" lang="uk-UA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Segoe UI" panose="020B0502040204020203" pitchFamily="34" charset="0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6031095" y="6046731"/>
            <a:ext cx="6160905" cy="0"/>
          </a:xfrm>
          <a:prstGeom prst="line">
            <a:avLst/>
          </a:prstGeom>
          <a:ln w="28575">
            <a:solidFill>
              <a:srgbClr val="D4C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1369" y="5319944"/>
            <a:ext cx="544753" cy="542405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1369" y="4090978"/>
            <a:ext cx="540000" cy="540000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4489" y="3919432"/>
            <a:ext cx="537672" cy="540000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12161" y="5265855"/>
            <a:ext cx="540000" cy="540000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639367" y="1208452"/>
            <a:ext cx="878854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defTabSz="913542" eaLnBrk="1" hangingPunct="1">
              <a:tabLst>
                <a:tab pos="275358" algn="l"/>
              </a:tabLst>
              <a:defRPr lang="x-none" sz="2000" b="0" baseline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2pPr>
            <a:lvl3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3pPr>
            <a:lvl4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4pPr>
            <a:lvl5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5pPr>
            <a:lvl6pPr marL="46648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6pPr>
            <a:lvl7pPr marL="93297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7pPr>
            <a:lvl8pPr marL="139946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8pPr>
            <a:lvl9pPr marL="186595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58" algn="l"/>
              </a:tabLst>
              <a:defRPr/>
            </a:pPr>
            <a:r>
              <a:rPr kumimoji="0" lang="uk-UA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Helvetica Light"/>
              </a:rPr>
              <a:t>програма підтримки та активізації підприємництва</a:t>
            </a: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C13F1655-8EED-725C-47C4-44371E617CC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73509" y="111979"/>
            <a:ext cx="1745693" cy="75199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D7E90E18-ABC5-A37E-EA42-7826C0D0032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5295" y="193679"/>
            <a:ext cx="1184466" cy="616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581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1"/>
          <p:cNvSpPr/>
          <p:nvPr/>
        </p:nvSpPr>
        <p:spPr>
          <a:xfrm>
            <a:off x="0" y="-35708"/>
            <a:ext cx="12192000" cy="9613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1381541" y="4394633"/>
            <a:ext cx="3642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400" b="1" i="0" u="none" strike="noStrike" kern="1200" cap="none" spc="0" normalizeH="0" baseline="0" noProof="0" dirty="0">
                <a:ln>
                  <a:noFill/>
                </a:ln>
                <a:solidFill>
                  <a:srgbClr val="2C51B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10173" y="141820"/>
            <a:ext cx="759053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4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Д</a:t>
            </a:r>
            <a:r>
              <a:rPr kumimoji="0" lang="uk-UA" sz="4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ержавна </a:t>
            </a:r>
            <a:r>
              <a:rPr kumimoji="0" lang="uk-UA" sz="4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програма 5-7-9</a:t>
            </a:r>
            <a:endParaRPr kumimoji="0" lang="ru-RU" sz="4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itchFamily="34" charset="0"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395597" y="3972287"/>
            <a:ext cx="8365077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lang="uk-UA" sz="160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Segoe UI" panose="020B0502040204020203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44913" y="5702674"/>
            <a:ext cx="352424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uk-UA" sz="1400" dirty="0">
                <a:solidFill>
                  <a:schemeClr val="bg1"/>
                </a:solidFill>
              </a:rPr>
              <a:t>Розмір </a:t>
            </a:r>
            <a:r>
              <a:rPr lang="uk-UA" sz="1400" dirty="0" smtClean="0">
                <a:solidFill>
                  <a:schemeClr val="bg1"/>
                </a:solidFill>
              </a:rPr>
              <a:t>% ставки залежить від розміру річного доходу ГПК та   приросту робочих</a:t>
            </a:r>
            <a:endParaRPr kumimoji="0" lang="uk-UA" sz="1400" b="0" i="1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Округлений прямокутник 4"/>
          <p:cNvSpPr/>
          <p:nvPr/>
        </p:nvSpPr>
        <p:spPr>
          <a:xfrm>
            <a:off x="75417" y="1011661"/>
            <a:ext cx="3863242" cy="4360439"/>
          </a:xfrm>
          <a:prstGeom prst="roundRect">
            <a:avLst>
              <a:gd name="adj" fmla="val 26698"/>
            </a:avLst>
          </a:prstGeom>
          <a:solidFill>
            <a:srgbClr val="D4CD00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uk-UA" sz="1600" b="1" dirty="0">
                <a:solidFill>
                  <a:srgbClr val="0033CC"/>
                </a:solidFill>
                <a:latin typeface="Segoe UI" panose="020B0502040204020203" pitchFamily="34" charset="0"/>
                <a:cs typeface="Segoe UI" panose="020B0502040204020203" pitchFamily="34" charset="0"/>
                <a:sym typeface="Helvetica Light"/>
              </a:rPr>
              <a:t>Учасники програми:</a:t>
            </a:r>
          </a:p>
          <a:p>
            <a:pPr lvl="0">
              <a:defRPr/>
            </a:pPr>
            <a:r>
              <a:rPr lang="ru-RU" sz="1600" dirty="0" smtClean="0">
                <a:solidFill>
                  <a:srgbClr val="0033CC"/>
                </a:solidFill>
              </a:rPr>
              <a:t>ФОП </a:t>
            </a:r>
            <a:r>
              <a:rPr lang="ru-RU" sz="1600" dirty="0">
                <a:solidFill>
                  <a:srgbClr val="0033CC"/>
                </a:solidFill>
              </a:rPr>
              <a:t>– резидент </a:t>
            </a:r>
            <a:r>
              <a:rPr lang="uk-UA" sz="1600" dirty="0" smtClean="0">
                <a:solidFill>
                  <a:srgbClr val="0033CC"/>
                </a:solidFill>
              </a:rPr>
              <a:t>України</a:t>
            </a:r>
            <a:r>
              <a:rPr lang="ru-RU" sz="1600" dirty="0" smtClean="0">
                <a:solidFill>
                  <a:srgbClr val="0033CC"/>
                </a:solidFill>
              </a:rPr>
              <a:t>; </a:t>
            </a:r>
          </a:p>
          <a:p>
            <a:pPr lvl="0">
              <a:defRPr/>
            </a:pPr>
            <a:r>
              <a:rPr lang="ru-RU" sz="1600" dirty="0" smtClean="0">
                <a:solidFill>
                  <a:srgbClr val="0033CC"/>
                </a:solidFill>
              </a:rPr>
              <a:t>ЮО </a:t>
            </a:r>
            <a:r>
              <a:rPr lang="ru-RU" sz="1600" dirty="0">
                <a:solidFill>
                  <a:srgbClr val="0033CC"/>
                </a:solidFill>
              </a:rPr>
              <a:t>– резидент </a:t>
            </a:r>
            <a:r>
              <a:rPr lang="uk-UA" sz="1600" dirty="0" smtClean="0">
                <a:solidFill>
                  <a:srgbClr val="0033CC"/>
                </a:solidFill>
              </a:rPr>
              <a:t>України</a:t>
            </a:r>
            <a:r>
              <a:rPr lang="ru-RU" sz="1600" dirty="0" smtClean="0">
                <a:solidFill>
                  <a:srgbClr val="0033CC"/>
                </a:solidFill>
              </a:rPr>
              <a:t>, </a:t>
            </a:r>
            <a:r>
              <a:rPr lang="uk-UA" sz="1600" dirty="0" smtClean="0">
                <a:solidFill>
                  <a:srgbClr val="0033CC"/>
                </a:solidFill>
              </a:rPr>
              <a:t>кінцеві</a:t>
            </a:r>
            <a:r>
              <a:rPr lang="ru-RU" sz="1600" dirty="0" smtClean="0">
                <a:solidFill>
                  <a:srgbClr val="0033CC"/>
                </a:solidFill>
              </a:rPr>
              <a:t> </a:t>
            </a:r>
            <a:r>
              <a:rPr lang="uk-UA" sz="1600" dirty="0" smtClean="0">
                <a:solidFill>
                  <a:srgbClr val="0033CC"/>
                </a:solidFill>
              </a:rPr>
              <a:t>власники</a:t>
            </a:r>
            <a:r>
              <a:rPr lang="ru-RU" sz="1600" dirty="0" smtClean="0">
                <a:solidFill>
                  <a:srgbClr val="0033CC"/>
                </a:solidFill>
              </a:rPr>
              <a:t> </a:t>
            </a:r>
            <a:r>
              <a:rPr lang="ru-RU" sz="1600" dirty="0">
                <a:solidFill>
                  <a:srgbClr val="0033CC"/>
                </a:solidFill>
              </a:rPr>
              <a:t>є </a:t>
            </a:r>
            <a:r>
              <a:rPr lang="uk-UA" sz="1600" dirty="0" smtClean="0">
                <a:solidFill>
                  <a:srgbClr val="0033CC"/>
                </a:solidFill>
              </a:rPr>
              <a:t>фізичними</a:t>
            </a:r>
            <a:r>
              <a:rPr lang="ru-RU" sz="1600" dirty="0" smtClean="0">
                <a:solidFill>
                  <a:srgbClr val="0033CC"/>
                </a:solidFill>
              </a:rPr>
              <a:t> </a:t>
            </a:r>
            <a:r>
              <a:rPr lang="ru-RU" sz="1600" dirty="0">
                <a:solidFill>
                  <a:srgbClr val="0033CC"/>
                </a:solidFill>
              </a:rPr>
              <a:t>особами резидентами </a:t>
            </a:r>
            <a:r>
              <a:rPr lang="uk-UA" sz="1600" dirty="0" smtClean="0">
                <a:solidFill>
                  <a:srgbClr val="0033CC"/>
                </a:solidFill>
              </a:rPr>
              <a:t>України</a:t>
            </a:r>
            <a:r>
              <a:rPr lang="ru-RU" sz="1600" dirty="0" smtClean="0">
                <a:solidFill>
                  <a:srgbClr val="0033CC"/>
                </a:solidFill>
              </a:rPr>
              <a:t>;</a:t>
            </a:r>
          </a:p>
          <a:p>
            <a:pPr>
              <a:defRPr/>
            </a:pPr>
            <a:r>
              <a:rPr lang="uk-UA" sz="1600" dirty="0" smtClean="0">
                <a:solidFill>
                  <a:srgbClr val="0033CC"/>
                </a:solidFill>
              </a:rPr>
              <a:t>Які</a:t>
            </a:r>
            <a:r>
              <a:rPr lang="ru-RU" sz="1600" dirty="0" smtClean="0">
                <a:solidFill>
                  <a:srgbClr val="0033CC"/>
                </a:solidFill>
              </a:rPr>
              <a:t> </a:t>
            </a:r>
            <a:r>
              <a:rPr lang="ru-RU" sz="1600" dirty="0">
                <a:solidFill>
                  <a:srgbClr val="0033CC"/>
                </a:solidFill>
              </a:rPr>
              <a:t>не </a:t>
            </a:r>
            <a:r>
              <a:rPr lang="uk-UA" sz="1600" dirty="0" smtClean="0">
                <a:solidFill>
                  <a:srgbClr val="0033CC"/>
                </a:solidFill>
              </a:rPr>
              <a:t>зареєстровані</a:t>
            </a:r>
            <a:r>
              <a:rPr lang="ru-RU" sz="1600" dirty="0" smtClean="0">
                <a:solidFill>
                  <a:srgbClr val="0033CC"/>
                </a:solidFill>
              </a:rPr>
              <a:t> </a:t>
            </a:r>
            <a:r>
              <a:rPr lang="ru-RU" sz="1600" dirty="0">
                <a:solidFill>
                  <a:srgbClr val="0033CC"/>
                </a:solidFill>
              </a:rPr>
              <a:t>на </a:t>
            </a:r>
            <a:r>
              <a:rPr lang="uk-UA" sz="1600" dirty="0" smtClean="0">
                <a:solidFill>
                  <a:srgbClr val="0033CC"/>
                </a:solidFill>
              </a:rPr>
              <a:t>тимчасово</a:t>
            </a:r>
            <a:r>
              <a:rPr lang="ru-RU" sz="1600" dirty="0" smtClean="0">
                <a:solidFill>
                  <a:srgbClr val="0033CC"/>
                </a:solidFill>
              </a:rPr>
              <a:t> </a:t>
            </a:r>
            <a:r>
              <a:rPr lang="uk-UA" sz="1600" dirty="0" smtClean="0">
                <a:solidFill>
                  <a:srgbClr val="0033CC"/>
                </a:solidFill>
              </a:rPr>
              <a:t>окупованих</a:t>
            </a:r>
            <a:r>
              <a:rPr lang="ru-RU" sz="1600" dirty="0" smtClean="0">
                <a:solidFill>
                  <a:srgbClr val="0033CC"/>
                </a:solidFill>
              </a:rPr>
              <a:t> </a:t>
            </a:r>
            <a:r>
              <a:rPr lang="uk-UA" sz="1600" dirty="0" smtClean="0">
                <a:solidFill>
                  <a:srgbClr val="0033CC"/>
                </a:solidFill>
              </a:rPr>
              <a:t>територіях</a:t>
            </a:r>
            <a:r>
              <a:rPr lang="ru-RU" sz="1600" dirty="0" smtClean="0">
                <a:solidFill>
                  <a:srgbClr val="0033CC"/>
                </a:solidFill>
              </a:rPr>
              <a:t> </a:t>
            </a:r>
            <a:r>
              <a:rPr lang="ru-RU" sz="1600" dirty="0">
                <a:solidFill>
                  <a:srgbClr val="0033CC"/>
                </a:solidFill>
              </a:rPr>
              <a:t>та в </a:t>
            </a:r>
            <a:r>
              <a:rPr lang="uk-UA" sz="1600" dirty="0" smtClean="0">
                <a:solidFill>
                  <a:srgbClr val="0033CC"/>
                </a:solidFill>
              </a:rPr>
              <a:t>населених</a:t>
            </a:r>
            <a:r>
              <a:rPr lang="ru-RU" sz="1600" dirty="0" smtClean="0">
                <a:solidFill>
                  <a:srgbClr val="0033CC"/>
                </a:solidFill>
              </a:rPr>
              <a:t> </a:t>
            </a:r>
            <a:r>
              <a:rPr lang="ru-RU" sz="1600" dirty="0">
                <a:solidFill>
                  <a:srgbClr val="0033CC"/>
                </a:solidFill>
              </a:rPr>
              <a:t>пунктах на </a:t>
            </a:r>
            <a:r>
              <a:rPr lang="uk-UA" sz="1600" dirty="0" smtClean="0">
                <a:solidFill>
                  <a:srgbClr val="0033CC"/>
                </a:solidFill>
              </a:rPr>
              <a:t>лінії</a:t>
            </a:r>
            <a:r>
              <a:rPr lang="ru-RU" sz="1600" dirty="0" smtClean="0">
                <a:solidFill>
                  <a:srgbClr val="0033CC"/>
                </a:solidFill>
              </a:rPr>
              <a:t> </a:t>
            </a:r>
            <a:r>
              <a:rPr lang="uk-UA" sz="1600" dirty="0" smtClean="0">
                <a:solidFill>
                  <a:srgbClr val="0033CC"/>
                </a:solidFill>
              </a:rPr>
              <a:t>зіткнення</a:t>
            </a:r>
            <a:r>
              <a:rPr lang="ru-RU" sz="1600" dirty="0" smtClean="0">
                <a:solidFill>
                  <a:srgbClr val="0033CC"/>
                </a:solidFill>
              </a:rPr>
              <a:t>;</a:t>
            </a:r>
            <a:endParaRPr lang="ru-RU" sz="1600" dirty="0">
              <a:solidFill>
                <a:srgbClr val="0033CC"/>
              </a:solidFill>
            </a:endParaRPr>
          </a:p>
          <a:p>
            <a:pPr>
              <a:defRPr/>
            </a:pPr>
            <a:r>
              <a:rPr lang="uk-UA" sz="1600" dirty="0">
                <a:solidFill>
                  <a:srgbClr val="0033CC"/>
                </a:solidFill>
              </a:rPr>
              <a:t>Строк здійснення діяльності від 12 місяців;</a:t>
            </a:r>
            <a:r>
              <a:rPr lang="ru-RU" sz="1600" dirty="0">
                <a:solidFill>
                  <a:srgbClr val="0033CC"/>
                </a:solidFill>
              </a:rPr>
              <a:t> </a:t>
            </a:r>
          </a:p>
          <a:p>
            <a:pPr>
              <a:defRPr/>
            </a:pPr>
            <a:r>
              <a:rPr lang="uk-UA" sz="1600" dirty="0">
                <a:solidFill>
                  <a:srgbClr val="0033CC"/>
                </a:solidFill>
              </a:rPr>
              <a:t>Мають відмінну ділову репутацію, ведуть </a:t>
            </a:r>
            <a:r>
              <a:rPr lang="uk-UA" sz="1600" dirty="0" smtClean="0">
                <a:solidFill>
                  <a:srgbClr val="0033CC"/>
                </a:solidFill>
              </a:rPr>
              <a:t>прибуткову поточну </a:t>
            </a:r>
            <a:r>
              <a:rPr lang="uk-UA" sz="1600" dirty="0">
                <a:solidFill>
                  <a:srgbClr val="0033CC"/>
                </a:solidFill>
              </a:rPr>
              <a:t>діяльність, відсутня заборгованість за </a:t>
            </a:r>
            <a:r>
              <a:rPr lang="uk-UA" sz="1600" dirty="0" smtClean="0">
                <a:solidFill>
                  <a:srgbClr val="0033CC"/>
                </a:solidFill>
              </a:rPr>
              <a:t>податками/зборами;</a:t>
            </a:r>
            <a:endParaRPr lang="ru-RU" sz="1600" dirty="0">
              <a:solidFill>
                <a:srgbClr val="0033CC"/>
              </a:solidFill>
              <a:sym typeface="Segoe UI" panose="020B0502040204020203" pitchFamily="34" charset="0"/>
            </a:endParaRPr>
          </a:p>
          <a:p>
            <a:pPr lvl="0">
              <a:defRPr/>
            </a:pPr>
            <a:endParaRPr kumimoji="0" lang="uk-UA" sz="1600" b="0" i="0" u="none" strike="noStrike" kern="1200" cap="none" spc="0" normalizeH="0" baseline="0" noProof="0" dirty="0">
              <a:ln>
                <a:noFill/>
              </a:ln>
              <a:solidFill>
                <a:srgbClr val="0033C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egoe UI" panose="020B0502040204020203" pitchFamily="34" charset="0"/>
            </a:endParaRPr>
          </a:p>
        </p:txBody>
      </p:sp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C13F1655-8EED-725C-47C4-44371E617CC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3509" y="111979"/>
            <a:ext cx="1745693" cy="75199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D7E90E18-ABC5-A37E-EA42-7826C0D0032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5295" y="193679"/>
            <a:ext cx="1184466" cy="616974"/>
          </a:xfrm>
          <a:prstGeom prst="rect">
            <a:avLst/>
          </a:prstGeom>
        </p:spPr>
      </p:pic>
      <p:graphicFrame>
        <p:nvGraphicFramePr>
          <p:cNvPr id="2" name="Таблиця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8123451"/>
              </p:ext>
            </p:extLst>
          </p:nvPr>
        </p:nvGraphicFramePr>
        <p:xfrm>
          <a:off x="4152329" y="1011661"/>
          <a:ext cx="7897432" cy="56935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10857">
                  <a:extLst>
                    <a:ext uri="{9D8B030D-6E8A-4147-A177-3AD203B41FA5}">
                      <a16:colId xmlns:a16="http://schemas.microsoft.com/office/drawing/2014/main" val="4152890618"/>
                    </a:ext>
                  </a:extLst>
                </a:gridCol>
                <a:gridCol w="6050121">
                  <a:extLst>
                    <a:ext uri="{9D8B030D-6E8A-4147-A177-3AD203B41FA5}">
                      <a16:colId xmlns:a16="http://schemas.microsoft.com/office/drawing/2014/main" val="1163196752"/>
                    </a:ext>
                  </a:extLst>
                </a:gridCol>
                <a:gridCol w="936454">
                  <a:extLst>
                    <a:ext uri="{9D8B030D-6E8A-4147-A177-3AD203B41FA5}">
                      <a16:colId xmlns:a16="http://schemas.microsoft.com/office/drawing/2014/main" val="385531949"/>
                    </a:ext>
                  </a:extLst>
                </a:gridCol>
              </a:tblGrid>
              <a:tr h="63990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uk-UA" sz="1400" b="1" u="none" strike="noStrike" noProof="0" dirty="0" smtClean="0">
                          <a:solidFill>
                            <a:srgbClr val="0033CC"/>
                          </a:solidFill>
                          <a:effectLst/>
                        </a:rPr>
                        <a:t>Цілі</a:t>
                      </a:r>
                      <a:r>
                        <a:rPr lang="ru-RU" sz="1400" b="1" u="none" strike="noStrike" dirty="0" smtClean="0">
                          <a:solidFill>
                            <a:srgbClr val="0033CC"/>
                          </a:solidFill>
                          <a:effectLst/>
                        </a:rPr>
                        <a:t> </a:t>
                      </a:r>
                      <a:r>
                        <a:rPr lang="ru-RU" sz="140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>та напрямки, за </a:t>
                      </a:r>
                      <a:r>
                        <a:rPr lang="uk-UA" sz="1400" b="1" u="none" strike="noStrike" noProof="0" dirty="0" smtClean="0">
                          <a:solidFill>
                            <a:srgbClr val="0033CC"/>
                          </a:solidFill>
                          <a:effectLst/>
                        </a:rPr>
                        <a:t>якими</a:t>
                      </a:r>
                      <a:r>
                        <a:rPr lang="ru-RU" sz="1400" b="1" u="none" strike="noStrike" dirty="0" smtClean="0">
                          <a:solidFill>
                            <a:srgbClr val="0033CC"/>
                          </a:solidFill>
                          <a:effectLst/>
                        </a:rPr>
                        <a:t> </a:t>
                      </a:r>
                      <a:r>
                        <a:rPr lang="uk-UA" sz="1400" b="1" u="none" strike="noStrike" noProof="0" dirty="0" smtClean="0">
                          <a:solidFill>
                            <a:srgbClr val="0033CC"/>
                          </a:solidFill>
                          <a:effectLst/>
                        </a:rPr>
                        <a:t>надається</a:t>
                      </a:r>
                      <a:r>
                        <a:rPr lang="ru-RU" sz="1400" b="1" u="none" strike="noStrike" dirty="0" smtClean="0">
                          <a:solidFill>
                            <a:srgbClr val="0033CC"/>
                          </a:solidFill>
                          <a:effectLst/>
                        </a:rPr>
                        <a:t> </a:t>
                      </a:r>
                      <a:r>
                        <a:rPr lang="uk-UA" sz="1400" b="1" u="none" strike="noStrike" noProof="0" dirty="0" smtClean="0">
                          <a:solidFill>
                            <a:srgbClr val="0033CC"/>
                          </a:solidFill>
                          <a:effectLst/>
                        </a:rPr>
                        <a:t>фінансова</a:t>
                      </a:r>
                      <a:r>
                        <a:rPr lang="ru-RU" sz="1400" b="1" u="none" strike="noStrike" dirty="0" smtClean="0">
                          <a:solidFill>
                            <a:srgbClr val="0033CC"/>
                          </a:solidFill>
                          <a:effectLst/>
                        </a:rPr>
                        <a:t> </a:t>
                      </a:r>
                      <a:r>
                        <a:rPr lang="uk-UA" sz="1400" b="1" u="none" strike="noStrike" noProof="0" dirty="0" smtClean="0">
                          <a:solidFill>
                            <a:srgbClr val="0033CC"/>
                          </a:solidFill>
                          <a:effectLst/>
                        </a:rPr>
                        <a:t>державна</a:t>
                      </a:r>
                      <a:r>
                        <a:rPr lang="ru-RU" sz="1400" b="1" u="none" strike="noStrike" dirty="0" smtClean="0">
                          <a:solidFill>
                            <a:srgbClr val="0033CC"/>
                          </a:solidFill>
                          <a:effectLst/>
                        </a:rPr>
                        <a:t> </a:t>
                      </a:r>
                      <a:r>
                        <a:rPr lang="uk-UA" sz="1400" b="1" u="none" strike="noStrike" noProof="0" dirty="0" smtClean="0">
                          <a:solidFill>
                            <a:srgbClr val="0033CC"/>
                          </a:solidFill>
                          <a:effectLst/>
                        </a:rPr>
                        <a:t>підтримка</a:t>
                      </a:r>
                      <a:endParaRPr lang="uk-UA" sz="1400" b="1" i="0" u="none" strike="noStrike" noProof="0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50" b="1" u="none" strike="noStrike" noProof="0" dirty="0" smtClean="0">
                          <a:solidFill>
                            <a:srgbClr val="0033CC"/>
                          </a:solidFill>
                          <a:effectLst/>
                        </a:rPr>
                        <a:t>Компенсація</a:t>
                      </a:r>
                      <a:r>
                        <a:rPr lang="ru-RU" sz="105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/>
                      </a:r>
                      <a:br>
                        <a:rPr lang="ru-RU" sz="1050" b="1" u="none" strike="noStrike" dirty="0">
                          <a:solidFill>
                            <a:srgbClr val="0033CC"/>
                          </a:solidFill>
                          <a:effectLst/>
                        </a:rPr>
                      </a:br>
                      <a:r>
                        <a:rPr lang="uk-UA" sz="1050" b="1" u="none" strike="noStrike" noProof="0" dirty="0" smtClean="0">
                          <a:solidFill>
                            <a:srgbClr val="0033CC"/>
                          </a:solidFill>
                          <a:effectLst/>
                        </a:rPr>
                        <a:t>позичальнику</a:t>
                      </a:r>
                      <a:r>
                        <a:rPr lang="ru-RU" sz="105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/>
                      </a:r>
                      <a:br>
                        <a:rPr lang="ru-RU" sz="1050" b="1" u="none" strike="noStrike" dirty="0">
                          <a:solidFill>
                            <a:srgbClr val="0033CC"/>
                          </a:solidFill>
                          <a:effectLst/>
                        </a:rPr>
                      </a:br>
                      <a:r>
                        <a:rPr lang="uk-UA" sz="1050" b="1" u="none" strike="noStrike" noProof="0" dirty="0" smtClean="0">
                          <a:solidFill>
                            <a:srgbClr val="0033CC"/>
                          </a:solidFill>
                          <a:effectLst/>
                        </a:rPr>
                        <a:t>процентів</a:t>
                      </a:r>
                      <a:r>
                        <a:rPr lang="ru-RU" sz="1050" b="1" u="none" strike="noStrike" dirty="0" smtClean="0">
                          <a:solidFill>
                            <a:srgbClr val="0033CC"/>
                          </a:solidFill>
                          <a:effectLst/>
                        </a:rPr>
                        <a:t> </a:t>
                      </a:r>
                      <a:r>
                        <a:rPr lang="ru-RU" sz="105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>до</a:t>
                      </a:r>
                      <a:br>
                        <a:rPr lang="ru-RU" sz="1050" b="1" u="none" strike="noStrike" dirty="0">
                          <a:solidFill>
                            <a:srgbClr val="0033CC"/>
                          </a:solidFill>
                          <a:effectLst/>
                        </a:rPr>
                      </a:br>
                      <a:r>
                        <a:rPr lang="uk-UA" sz="1050" b="1" u="none" strike="noStrike" noProof="0" dirty="0" smtClean="0">
                          <a:solidFill>
                            <a:srgbClr val="0033CC"/>
                          </a:solidFill>
                          <a:effectLst/>
                        </a:rPr>
                        <a:t>рівня</a:t>
                      </a:r>
                      <a:r>
                        <a:rPr lang="ru-RU" sz="1050" b="1" u="none" strike="noStrike" dirty="0" smtClean="0">
                          <a:solidFill>
                            <a:srgbClr val="0033CC"/>
                          </a:solidFill>
                          <a:effectLst/>
                        </a:rPr>
                        <a:t> </a:t>
                      </a:r>
                      <a:endParaRPr lang="ru-RU" sz="105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6907884"/>
                  </a:ext>
                </a:extLst>
              </a:tr>
              <a:tr h="1427993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20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>Інвестиційні</a:t>
                      </a:r>
                      <a:br>
                        <a:rPr lang="uk-UA" sz="1200" b="1" u="none" strike="noStrike" dirty="0">
                          <a:solidFill>
                            <a:srgbClr val="0033CC"/>
                          </a:solidFill>
                          <a:effectLst/>
                        </a:rPr>
                      </a:br>
                      <a:r>
                        <a:rPr lang="uk-UA" sz="120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>кредити</a:t>
                      </a:r>
                      <a:endParaRPr lang="uk-UA" sz="120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uk-UA" sz="1050" b="1" u="none" strike="noStrike" dirty="0">
                          <a:effectLst/>
                        </a:rPr>
                        <a:t>придбання та/або модернізацію основних засобів </a:t>
                      </a:r>
                      <a:r>
                        <a:rPr lang="uk-UA" sz="1050" u="none" strike="noStrike" dirty="0">
                          <a:effectLst/>
                        </a:rPr>
                        <a:t>суб'єктом підприємництва, за винятком придбання</a:t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r>
                        <a:rPr lang="uk-UA" sz="1050" u="none" strike="noStrike" dirty="0">
                          <a:effectLst/>
                        </a:rPr>
                        <a:t>транспортних засобів (крім тих, що будуть використовуватися в комерційних та виробничих цілях);</a:t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r>
                        <a:rPr lang="uk-UA" sz="1050" b="1" u="none" strike="noStrike" dirty="0">
                          <a:effectLst/>
                        </a:rPr>
                        <a:t>придбання нежитлової нерухомості та/або земельних ділянок </a:t>
                      </a:r>
                      <a:r>
                        <a:rPr lang="uk-UA" sz="1050" u="none" strike="noStrike" dirty="0">
                          <a:effectLst/>
                        </a:rPr>
                        <a:t>з метою провадження суб'єктом</a:t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r>
                        <a:rPr lang="uk-UA" sz="1050" u="none" strike="noStrike" dirty="0">
                          <a:effectLst/>
                        </a:rPr>
                        <a:t>підприємництва господарської діяльності без права передачі такої нерухомості в платне або безоплатне</a:t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r>
                        <a:rPr lang="uk-UA" sz="1050" u="none" strike="noStrike" dirty="0">
                          <a:effectLst/>
                        </a:rPr>
                        <a:t>користування третім особам;</a:t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r>
                        <a:rPr lang="uk-UA" sz="1050" b="1" u="none" strike="noStrike" dirty="0">
                          <a:effectLst/>
                        </a:rPr>
                        <a:t>здійснення будівництва, реконструкції, ремонту </a:t>
                      </a:r>
                      <a:r>
                        <a:rPr lang="uk-UA" sz="1050" u="none" strike="noStrike" dirty="0">
                          <a:effectLst/>
                        </a:rPr>
                        <a:t>у нежитлових приміщеннях, у яких суб'єкт</a:t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r>
                        <a:rPr lang="uk-UA" sz="1050" u="none" strike="noStrike" dirty="0">
                          <a:effectLst/>
                        </a:rPr>
                        <a:t>підприємництва провадить основну господарську діяльність, які на праві власності або користування</a:t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r>
                        <a:rPr lang="uk-UA" sz="1050" u="none" strike="noStrike" dirty="0">
                          <a:effectLst/>
                        </a:rPr>
                        <a:t>належать суб'єкту підприємництва;</a:t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r>
                        <a:rPr lang="uk-UA" sz="1050" b="1" u="none" strike="noStrike" dirty="0">
                          <a:effectLst/>
                        </a:rPr>
                        <a:t>придбання об'єктів права інтелектуальної власності</a:t>
                      </a:r>
                      <a:r>
                        <a:rPr lang="uk-UA" sz="1050" u="none" strike="noStrike" dirty="0">
                          <a:effectLst/>
                        </a:rPr>
                        <a:t>, за договорами комерційної концесії (франчайзингу),</a:t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r>
                        <a:rPr lang="uk-UA" sz="1050" u="none" strike="noStrike" dirty="0">
                          <a:effectLst/>
                        </a:rPr>
                        <a:t>пов'язаних із реалізацією суб'єктом підприємництва кредитно-інвестиційного </a:t>
                      </a:r>
                      <a:r>
                        <a:rPr lang="uk-UA" sz="1050" u="none" strike="noStrike" dirty="0" smtClean="0">
                          <a:effectLst/>
                        </a:rPr>
                        <a:t>проекту</a:t>
                      </a:r>
                    </a:p>
                    <a:p>
                      <a:pPr algn="l" fontAlgn="ctr"/>
                      <a:endParaRPr lang="uk-UA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5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>5-7-9% річних</a:t>
                      </a:r>
                      <a:endParaRPr lang="uk-UA" sz="105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6972528"/>
                  </a:ext>
                </a:extLst>
              </a:tr>
              <a:tr h="27616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20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>Оборотний</a:t>
                      </a:r>
                      <a:br>
                        <a:rPr lang="uk-UA" sz="1200" b="1" u="none" strike="noStrike" dirty="0">
                          <a:solidFill>
                            <a:srgbClr val="0033CC"/>
                          </a:solidFill>
                          <a:effectLst/>
                        </a:rPr>
                      </a:br>
                      <a:r>
                        <a:rPr lang="uk-UA" sz="120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>капітал </a:t>
                      </a:r>
                      <a:endParaRPr lang="uk-UA" sz="120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uk-UA" sz="1050" b="1" u="none" strike="noStrike" dirty="0">
                          <a:effectLst/>
                        </a:rPr>
                        <a:t>фінансування оборотного капіталу</a:t>
                      </a:r>
                      <a:endParaRPr lang="uk-UA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5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>9% річних</a:t>
                      </a:r>
                      <a:endParaRPr lang="uk-UA" sz="105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1376039"/>
                  </a:ext>
                </a:extLst>
              </a:tr>
              <a:tr h="27616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20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>Напрям 8</a:t>
                      </a:r>
                      <a:endParaRPr lang="uk-UA" sz="120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uk-UA" sz="1050" b="1" u="none" strike="noStrike" dirty="0">
                          <a:effectLst/>
                        </a:rPr>
                        <a:t>фінансування</a:t>
                      </a:r>
                      <a:r>
                        <a:rPr lang="uk-UA" sz="1050" u="none" strike="noStrike" dirty="0">
                          <a:effectLst/>
                        </a:rPr>
                        <a:t> суб’єктів підприємництва – </a:t>
                      </a:r>
                      <a:r>
                        <a:rPr lang="uk-UA" sz="1050" b="1" u="none" strike="noStrike" dirty="0">
                          <a:effectLst/>
                        </a:rPr>
                        <a:t>сільськогосподарських товаровиробників </a:t>
                      </a:r>
                      <a:r>
                        <a:rPr lang="uk-UA" sz="1050" u="none" strike="noStrike" dirty="0">
                          <a:effectLst/>
                        </a:rPr>
                        <a:t>для провадження</a:t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r>
                        <a:rPr lang="uk-UA" sz="1050" u="none" strike="noStrike" dirty="0">
                          <a:effectLst/>
                        </a:rPr>
                        <a:t>сільськогосподарської </a:t>
                      </a:r>
                      <a:r>
                        <a:rPr lang="uk-UA" sz="1050" u="none" strike="noStrike" dirty="0" smtClean="0">
                          <a:effectLst/>
                        </a:rPr>
                        <a:t>діяльності строком </a:t>
                      </a:r>
                      <a:r>
                        <a:rPr lang="uk-UA" sz="1050" u="none" strike="noStrike" smtClean="0">
                          <a:effectLst/>
                        </a:rPr>
                        <a:t>до 31.03.2024р</a:t>
                      </a:r>
                      <a:r>
                        <a:rPr lang="uk-UA" sz="1050" u="none" strike="noStrike" dirty="0" smtClean="0">
                          <a:effectLst/>
                        </a:rPr>
                        <a:t>.</a:t>
                      </a:r>
                      <a:endParaRPr lang="uk-UA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5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>5-7-9% річних</a:t>
                      </a:r>
                      <a:endParaRPr lang="uk-UA" sz="105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7801680"/>
                  </a:ext>
                </a:extLst>
              </a:tr>
              <a:tr h="410885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20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>Напрям 9</a:t>
                      </a:r>
                      <a:endParaRPr lang="uk-UA" sz="120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uk-UA" sz="1050" u="none" strike="noStrike" dirty="0">
                          <a:effectLst/>
                        </a:rPr>
                        <a:t>підтримка суб’єктів підприємництва, що здійснюють свою діяльність з </a:t>
                      </a:r>
                      <a:r>
                        <a:rPr lang="uk-UA" sz="1050" b="1" u="none" strike="noStrike" dirty="0">
                          <a:effectLst/>
                        </a:rPr>
                        <a:t>виробництва, переробки</a:t>
                      </a:r>
                      <a:br>
                        <a:rPr lang="uk-UA" sz="1050" b="1" u="none" strike="noStrike" dirty="0">
                          <a:effectLst/>
                        </a:rPr>
                      </a:br>
                      <a:r>
                        <a:rPr lang="uk-UA" sz="1050" b="1" u="none" strike="noStrike" dirty="0">
                          <a:effectLst/>
                        </a:rPr>
                        <a:t>сільськогосподарської продукції </a:t>
                      </a:r>
                      <a:r>
                        <a:rPr lang="uk-UA" sz="1050" u="none" strike="noStrike" dirty="0">
                          <a:effectLst/>
                        </a:rPr>
                        <a:t>та її реалізацію за видами економічної діяльності 10.51, 10.61, 10.71</a:t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r>
                        <a:rPr lang="uk-UA" sz="1050" u="none" strike="noStrike" dirty="0">
                          <a:effectLst/>
                        </a:rPr>
                        <a:t>відповідно до Класифікації видів економічної діяльності</a:t>
                      </a:r>
                      <a:r>
                        <a:rPr lang="uk-UA" sz="1050" u="none" strike="noStrike" dirty="0" smtClean="0">
                          <a:effectLst/>
                        </a:rPr>
                        <a:t>.</a:t>
                      </a:r>
                    </a:p>
                    <a:p>
                      <a:pPr algn="l" fontAlgn="ctr"/>
                      <a:endParaRPr lang="uk-UA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5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>5-7-9% річних</a:t>
                      </a:r>
                      <a:endParaRPr lang="uk-UA" sz="105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5662362"/>
                  </a:ext>
                </a:extLst>
              </a:tr>
              <a:tr h="202075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20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>Напрям 10</a:t>
                      </a:r>
                      <a:endParaRPr lang="uk-UA" sz="120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uk-UA" sz="1050" b="1" u="none" strike="noStrike" dirty="0">
                          <a:effectLst/>
                        </a:rPr>
                        <a:t>відбудова зруйнованих внаслідок військової агресії основних засобів </a:t>
                      </a:r>
                      <a:r>
                        <a:rPr lang="uk-UA" sz="1050" u="none" strike="noStrike" dirty="0">
                          <a:effectLst/>
                        </a:rPr>
                        <a:t>суб’єктів </a:t>
                      </a:r>
                      <a:r>
                        <a:rPr lang="uk-UA" sz="1050" u="none" strike="noStrike" dirty="0" smtClean="0">
                          <a:effectLst/>
                        </a:rPr>
                        <a:t>підприємництва</a:t>
                      </a:r>
                    </a:p>
                    <a:p>
                      <a:pPr algn="l" fontAlgn="ctr"/>
                      <a:endParaRPr lang="uk-UA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5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>5-7% річних</a:t>
                      </a:r>
                      <a:endParaRPr lang="uk-UA" sz="105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7613054"/>
                  </a:ext>
                </a:extLst>
              </a:tr>
              <a:tr h="1118146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20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>Напрям 11</a:t>
                      </a:r>
                      <a:endParaRPr lang="uk-UA" sz="120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uk-UA" sz="1050" u="none" strike="noStrike" dirty="0">
                          <a:effectLst/>
                        </a:rPr>
                        <a:t>підтримка суб’єктів підприємництва шляхом </a:t>
                      </a:r>
                      <a:r>
                        <a:rPr lang="uk-UA" sz="1050" b="1" u="none" strike="noStrike" dirty="0">
                          <a:effectLst/>
                        </a:rPr>
                        <a:t>пролонгації діючих кредитів, наданих для фінансування</a:t>
                      </a:r>
                      <a:br>
                        <a:rPr lang="uk-UA" sz="1050" b="1" u="none" strike="noStrike" dirty="0">
                          <a:effectLst/>
                        </a:rPr>
                      </a:br>
                      <a:r>
                        <a:rPr lang="uk-UA" sz="1050" b="1" u="none" strike="noStrike" dirty="0">
                          <a:effectLst/>
                        </a:rPr>
                        <a:t>оборотного капіталу </a:t>
                      </a:r>
                      <a:r>
                        <a:rPr lang="uk-UA" sz="1050" b="1" u="none" strike="noStrike" dirty="0" smtClean="0">
                          <a:effectLst/>
                        </a:rPr>
                        <a:t>за </a:t>
                      </a:r>
                      <a:r>
                        <a:rPr lang="uk-UA" sz="1050" b="1" u="none" strike="noStrike" dirty="0" err="1" smtClean="0">
                          <a:effectLst/>
                        </a:rPr>
                        <a:t>прогамою</a:t>
                      </a:r>
                      <a:r>
                        <a:rPr lang="uk-UA" sz="1050" b="1" u="none" strike="noStrike" dirty="0" smtClean="0">
                          <a:effectLst/>
                        </a:rPr>
                        <a:t> «5-7-9» строком</a:t>
                      </a:r>
                      <a:r>
                        <a:rPr lang="uk-UA" sz="1050" b="1" u="none" strike="noStrike" dirty="0">
                          <a:effectLst/>
                        </a:rPr>
                        <a:t>, до 12 місяців</a:t>
                      </a:r>
                      <a:r>
                        <a:rPr lang="uk-UA" sz="1050" u="none" strike="noStrike" dirty="0">
                          <a:effectLst/>
                        </a:rPr>
                        <a:t>, які провадять господарську діяльність</a:t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r>
                        <a:rPr lang="uk-UA" sz="1050" u="none" strike="noStrike" dirty="0">
                          <a:effectLst/>
                        </a:rPr>
                        <a:t>та/або виробничі потужності яких розміщено (було розміщено) на територіях, включених до переліку</a:t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r>
                        <a:rPr lang="uk-UA" sz="1050" b="1" u="none" strike="noStrike" dirty="0">
                          <a:effectLst/>
                        </a:rPr>
                        <a:t>територій, на яких велися бойові дії, та/або на територіях, які були тимчасово окуповані </a:t>
                      </a:r>
                      <a:r>
                        <a:rPr lang="uk-UA" sz="1050" u="none" strike="noStrike" dirty="0" smtClean="0">
                          <a:effectLst/>
                        </a:rPr>
                        <a:t>Російською</a:t>
                      </a:r>
                    </a:p>
                    <a:p>
                      <a:pPr algn="l" fontAlgn="ctr"/>
                      <a:r>
                        <a:rPr lang="uk-UA" sz="1050" u="none" strike="noStrike" dirty="0">
                          <a:effectLst/>
                        </a:rPr>
                        <a:t/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r>
                        <a:rPr lang="uk-UA" sz="1050" u="none" strike="noStrike" dirty="0">
                          <a:effectLst/>
                        </a:rPr>
                        <a:t>Федерацією, затвердженого відповідно до постанови Кабінету Міністрів України від 6 грудня 2022 р. №</a:t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r>
                        <a:rPr lang="uk-UA" sz="1050" u="none" strike="noStrike" dirty="0">
                          <a:effectLst/>
                        </a:rPr>
                        <a:t>1364 “Деякі питання формування переліку територій, на яких ведуться (велися) бойові дії або тимчасово</a:t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r>
                        <a:rPr lang="uk-UA" sz="1050" u="none" strike="noStrike" dirty="0">
                          <a:effectLst/>
                        </a:rPr>
                        <a:t>окупованих Російською Федерацією” (Офіційний вісник України, 2022 р., № 99, ст. 6191).</a:t>
                      </a:r>
                      <a:br>
                        <a:rPr lang="uk-UA" sz="1050" u="none" strike="noStrike" dirty="0">
                          <a:effectLst/>
                        </a:rPr>
                      </a:br>
                      <a:endParaRPr lang="uk-UA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50" b="1" u="none" strike="noStrike" dirty="0">
                          <a:solidFill>
                            <a:srgbClr val="0033CC"/>
                          </a:solidFill>
                          <a:effectLst/>
                        </a:rPr>
                        <a:t>7% річних</a:t>
                      </a:r>
                      <a:endParaRPr lang="uk-UA" sz="1050" b="1" i="0" u="none" strike="noStrike" dirty="0">
                        <a:solidFill>
                          <a:srgbClr val="0033CC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736" marR="6736" marT="673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30642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0943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рямоугольник 1"/>
          <p:cNvSpPr/>
          <p:nvPr/>
        </p:nvSpPr>
        <p:spPr>
          <a:xfrm>
            <a:off x="-5109" y="1"/>
            <a:ext cx="12197109" cy="11277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88488" y="-64548"/>
            <a:ext cx="8349676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4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Кредитування в рамка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4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г</a:t>
            </a:r>
            <a:r>
              <a:rPr kumimoji="0" lang="uk-UA" sz="4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арантійної угоди з </a:t>
            </a:r>
            <a:r>
              <a:rPr kumimoji="0" lang="ru-RU" sz="4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ЄІБ/ЄІФ</a:t>
            </a:r>
            <a:endParaRPr kumimoji="0" lang="ru-RU" sz="4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itchFamily="34" charset="0"/>
              <a:ea typeface="+mn-ea"/>
              <a:cs typeface="+mn-cs"/>
            </a:endParaRPr>
          </a:p>
        </p:txBody>
      </p:sp>
      <p:sp>
        <p:nvSpPr>
          <p:cNvPr id="57" name="Округлений прямокутник 4"/>
          <p:cNvSpPr/>
          <p:nvPr/>
        </p:nvSpPr>
        <p:spPr>
          <a:xfrm>
            <a:off x="3325303" y="1812289"/>
            <a:ext cx="8338377" cy="782076"/>
          </a:xfrm>
          <a:prstGeom prst="roundRect">
            <a:avLst/>
          </a:prstGeom>
          <a:solidFill>
            <a:srgbClr val="D4CD00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500" b="1" i="0" u="none" strike="noStrike" kern="1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500" b="1" i="0" u="none" strike="noStrike" kern="1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грама спрямована </a:t>
            </a:r>
            <a:r>
              <a:rPr kumimoji="0" lang="uk-UA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</a:t>
            </a:r>
            <a:r>
              <a:rPr kumimoji="0" lang="uk-UA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легшення доступу клієнтам мікро-, малого та середнього бізнесу до фінансування шляхом спрощення вимог до забезпечення.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 flipV="1">
            <a:off x="3723326" y="5403263"/>
            <a:ext cx="540000" cy="540000"/>
          </a:xfrm>
          <a:prstGeom prst="rect">
            <a:avLst/>
          </a:prstGeom>
        </p:spPr>
      </p:pic>
      <p:sp>
        <p:nvSpPr>
          <p:cNvPr id="29" name="Прямокутник 1"/>
          <p:cNvSpPr/>
          <p:nvPr/>
        </p:nvSpPr>
        <p:spPr>
          <a:xfrm>
            <a:off x="4343116" y="5403263"/>
            <a:ext cx="3838241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цільове </a:t>
            </a: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призначення:</a:t>
            </a:r>
            <a:endParaRPr kumimoji="0" lang="uk-UA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Segoe UI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створення/ придбання основних засобів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витрати капітального характеру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поповнення обігових коштів</a:t>
            </a:r>
            <a:endParaRPr kumimoji="0" lang="uk-UA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Segoe UI" panose="020B0502040204020203" pitchFamily="34" charset="0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3767" y="3406351"/>
            <a:ext cx="537672" cy="540000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9278047" y="3406351"/>
            <a:ext cx="2852312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defTabSz="913542" eaLnBrk="1" hangingPunct="1">
              <a:tabLst>
                <a:tab pos="275358" algn="l"/>
              </a:tabLst>
              <a:defRPr lang="x-none" sz="2000" b="0" baseline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2pPr>
            <a:lvl3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3pPr>
            <a:lvl4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4pPr>
            <a:lvl5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5pPr>
            <a:lvl6pPr marL="46648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6pPr>
            <a:lvl7pPr marL="93297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7pPr>
            <a:lvl8pPr marL="139946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8pPr>
            <a:lvl9pPr marL="186595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58" algn="l"/>
              </a:tabLst>
              <a:defRPr/>
            </a:pPr>
            <a:r>
              <a:rPr kumimoji="0" lang="uk-UA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валюта кредиту:</a:t>
            </a:r>
            <a:endParaRPr kumimoji="0" lang="uk-UA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egoe UI" panose="020B0502040204020203" pitchFamily="34" charset="0"/>
            </a:endParaRPr>
          </a:p>
          <a:p>
            <a:pPr marL="285750" marR="0" lvl="0" indent="-28575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>
                <a:tab pos="275358" algn="l"/>
              </a:tabLst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Гривня</a:t>
            </a:r>
          </a:p>
          <a:p>
            <a:pPr marL="285750" marR="0" lvl="0" indent="-28575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>
                <a:tab pos="275358" algn="l"/>
              </a:tabLst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Євро</a:t>
            </a:r>
          </a:p>
          <a:p>
            <a:pPr marL="285750" marR="0" lvl="0" indent="-28575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>
                <a:tab pos="275358" algn="l"/>
              </a:tabLst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Долар США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9420" y="2145487"/>
            <a:ext cx="3265846" cy="4712513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3326" y="3379855"/>
            <a:ext cx="540000" cy="540000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5654" y="4391236"/>
            <a:ext cx="537672" cy="540000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4421394" y="4420661"/>
            <a:ext cx="3718068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defTabSz="913542" eaLnBrk="1" hangingPunct="1">
              <a:tabLst>
                <a:tab pos="275358" algn="l"/>
              </a:tabLst>
              <a:defRPr lang="x-none" sz="2000" b="0" baseline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2pPr>
            <a:lvl3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3pPr>
            <a:lvl4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4pPr>
            <a:lvl5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5pPr>
            <a:lvl6pPr marL="46648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6pPr>
            <a:lvl7pPr marL="93297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7pPr>
            <a:lvl8pPr marL="139946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8pPr>
            <a:lvl9pPr marL="186595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58" algn="l"/>
              </a:tabLst>
              <a:defRPr/>
            </a:pPr>
            <a:r>
              <a:rPr kumimoji="0" lang="uk-U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сума кредиту: </a:t>
            </a:r>
          </a:p>
          <a:p>
            <a:pPr marL="285750" marR="0" lvl="0" indent="-28575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>
                <a:tab pos="275358" algn="l"/>
              </a:tabLst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до 5</a:t>
            </a: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 млн Євро</a:t>
            </a: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/>
            </a:r>
            <a:b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</a:b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(або еквівалент в гривні/дол США) </a:t>
            </a:r>
            <a:endParaRPr kumimoji="0" lang="uk-UA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egoe UI" panose="020B0502040204020203" pitchFamily="34" charset="0"/>
            </a:endParaRP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3767" y="4715453"/>
            <a:ext cx="540000" cy="540000"/>
          </a:xfrm>
          <a:prstGeom prst="rect">
            <a:avLst/>
          </a:prstGeom>
        </p:spPr>
      </p:pic>
      <p:sp>
        <p:nvSpPr>
          <p:cNvPr id="35" name="Прямокутник 1"/>
          <p:cNvSpPr/>
          <p:nvPr/>
        </p:nvSpPr>
        <p:spPr>
          <a:xfrm>
            <a:off x="9118463" y="4670463"/>
            <a:ext cx="2759083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забезпечення кредиту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70%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кредиту </a:t>
            </a: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забезпечено гарантією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ЄІБ</a:t>
            </a:r>
            <a:endParaRPr kumimoji="0" lang="uk-UA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Segoe UI" panose="020B0502040204020203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30% </a:t>
            </a: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Segoe UI" panose="020B0502040204020203" pitchFamily="34" charset="0"/>
              </a:rPr>
              <a:t>від суми кредиту – заставою/іпотекою рухомого та/або нерухомого майна</a:t>
            </a:r>
            <a:endParaRPr kumimoji="0" lang="uk-UA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Segoe UI" panose="020B0502040204020203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3325303" y="2631851"/>
            <a:ext cx="8338377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єднання зі стандартними умовам кредитування АТ «Ощадбанк»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uk-UA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Segoe UI" panose="020B0502040204020203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57307" y="2945807"/>
            <a:ext cx="1449841" cy="829876"/>
          </a:xfrm>
          <a:prstGeom prst="rect">
            <a:avLst/>
          </a:prstGeom>
        </p:spPr>
      </p:pic>
      <p:pic>
        <p:nvPicPr>
          <p:cNvPr id="38" name="Picture 3" descr="C:\Users\Barteas\AppData\Local\Microsoft\Windows\Temporary Internet Files\Content.Outlook\KGO8XPVQ\EIF Logo standard (RGB).jpg"/>
          <p:cNvPicPr/>
          <p:nvPr/>
        </p:nvPicPr>
        <p:blipFill>
          <a:blip r:embed="rId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520" y="4144906"/>
            <a:ext cx="1450800" cy="831600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TextBox 17"/>
          <p:cNvSpPr txBox="1"/>
          <p:nvPr/>
        </p:nvSpPr>
        <p:spPr>
          <a:xfrm>
            <a:off x="4421394" y="3406351"/>
            <a:ext cx="359789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defTabSz="913542" eaLnBrk="1" hangingPunct="1">
              <a:tabLst>
                <a:tab pos="275358" algn="l"/>
              </a:tabLst>
              <a:defRPr lang="x-none" sz="2000" b="0" baseline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  <a:sym typeface="Segoe UI" panose="020B0502040204020203" pitchFamily="34" charset="0"/>
              </a:defRPr>
            </a:lvl1pPr>
            <a:lvl2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2pPr>
            <a:lvl3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3pPr>
            <a:lvl4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4pPr>
            <a:lvl5pPr defTabSz="913542" eaLnBrk="1" hangingPunct="1">
              <a:defRPr lang="x-none" sz="1938" b="1">
                <a:solidFill>
                  <a:schemeClr val="tx2"/>
                </a:solidFill>
                <a:latin typeface="Arial" charset="0"/>
              </a:defRPr>
            </a:lvl5pPr>
            <a:lvl6pPr marL="46648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6pPr>
            <a:lvl7pPr marL="932979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7pPr>
            <a:lvl8pPr marL="139946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8pPr>
            <a:lvl9pPr marL="1865957" defTabSz="913542" fontAlgn="base">
              <a:spcBef>
                <a:spcPct val="0"/>
              </a:spcBef>
              <a:spcAft>
                <a:spcPct val="0"/>
              </a:spcAft>
              <a:defRPr lang="x-none" sz="1938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75358" algn="l"/>
              </a:tabLst>
              <a:defRPr/>
            </a:pPr>
            <a:r>
              <a:rPr kumimoji="0" lang="uk-UA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строк кредитування</a:t>
            </a: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:</a:t>
            </a:r>
          </a:p>
          <a:p>
            <a:pPr marL="285750" marR="0" lvl="0" indent="-28575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 typeface="Arial" panose="020B0604020202020204" pitchFamily="34" charset="0"/>
              <a:buChar char="•"/>
              <a:tabLst>
                <a:tab pos="275358" algn="l"/>
              </a:tabLst>
              <a:defRPr/>
            </a:pP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до </a:t>
            </a: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60 місяців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 </a:t>
            </a:r>
            <a:endParaRPr kumimoji="0" lang="uk-UA" sz="16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j-ea"/>
              <a:cs typeface="Arial" panose="020B0604020202020204" pitchFamily="34" charset="0"/>
              <a:sym typeface="Segoe UI" panose="020B0502040204020203" pitchFamily="34" charset="0"/>
            </a:endParaRPr>
          </a:p>
          <a:p>
            <a:pPr marL="0" marR="0" lvl="0" indent="0" algn="l" defTabSz="9135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4CD00"/>
              </a:buClr>
              <a:buSzTx/>
              <a:buFontTx/>
              <a:buNone/>
              <a:tabLst>
                <a:tab pos="275358" algn="l"/>
              </a:tabLst>
              <a:defRPr/>
            </a:pP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    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(</a:t>
            </a:r>
            <a:r>
              <a:rPr kumimoji="0" lang="uk-U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але не </a:t>
            </a:r>
            <a:r>
              <a:rPr kumimoji="0" lang="uk-UA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Segoe UI" panose="020B0502040204020203" pitchFamily="34" charset="0"/>
              </a:rPr>
              <a:t>пізніше 2031 року)</a:t>
            </a:r>
            <a:endParaRPr kumimoji="0" lang="uk-UA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Segoe UI" panose="020B0502040204020203" pitchFamily="34" charset="0"/>
            </a:endParaRP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C13F1655-8EED-725C-47C4-44371E617CC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73406" y="198993"/>
            <a:ext cx="1660334" cy="674767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D7E90E18-ABC5-A37E-EA42-7826C0D0032C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0880" y="199048"/>
            <a:ext cx="1198880" cy="665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619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"/>
          <p:cNvSpPr/>
          <p:nvPr/>
        </p:nvSpPr>
        <p:spPr>
          <a:xfrm>
            <a:off x="0" y="-72339"/>
            <a:ext cx="12192000" cy="10172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91440" y="104966"/>
            <a:ext cx="6058069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4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ЯК ПОДАТИ ЗАЯВКУ</a:t>
            </a:r>
            <a:endParaRPr kumimoji="0" lang="ru-RU" sz="40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 Black" pitchFamily="34" charset="0"/>
              <a:ea typeface="+mn-ea"/>
              <a:cs typeface="+mn-cs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30131" t="35322" r="51448" b="31696"/>
          <a:stretch/>
        </p:blipFill>
        <p:spPr>
          <a:xfrm>
            <a:off x="563478" y="1914421"/>
            <a:ext cx="3633678" cy="365963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3397" y="1971861"/>
            <a:ext cx="432000" cy="432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3397" y="2858049"/>
            <a:ext cx="432000" cy="432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9729" y="3744237"/>
            <a:ext cx="432000" cy="432000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6140324" y="1836983"/>
            <a:ext cx="51212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1" i="0" u="none" strike="noStrike" kern="1200" cap="none" spc="-14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дайте заявку на кредит через сервіс ОщадБізнес</a:t>
            </a:r>
            <a:endParaRPr kumimoji="0" lang="uk-UA" sz="1800" b="1" i="0" u="none" strike="noStrike" kern="1200" cap="none" spc="-14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140324" y="2750884"/>
            <a:ext cx="51212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1" i="0" u="none" strike="noStrike" kern="1200" cap="none" spc="-14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переднє рішення від банку надійде впродовж 24 годин</a:t>
            </a:r>
            <a:endParaRPr kumimoji="0" lang="uk-UA" sz="1800" b="1" i="0" u="none" strike="noStrike" kern="1200" cap="none" spc="-14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140324" y="3637072"/>
            <a:ext cx="51212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800" b="1" i="0" u="none" strike="noStrike" kern="1200" cap="none" spc="-14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римайте гроші на справу свого життя після підписання кредитної угоди</a:t>
            </a:r>
            <a:endParaRPr kumimoji="0" lang="uk-UA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0195" y="4665273"/>
            <a:ext cx="1375609" cy="1375609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C13F1655-8EED-725C-47C4-44371E617C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04960" y="82911"/>
            <a:ext cx="1551178" cy="751995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D7E90E18-ABC5-A37E-EA42-7826C0D0032C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6138" y="153205"/>
            <a:ext cx="1192022" cy="616974"/>
          </a:xfrm>
          <a:prstGeom prst="rect">
            <a:avLst/>
          </a:prstGeom>
        </p:spPr>
      </p:pic>
      <p:sp>
        <p:nvSpPr>
          <p:cNvPr id="16" name="Прямоугольник 1"/>
          <p:cNvSpPr/>
          <p:nvPr/>
        </p:nvSpPr>
        <p:spPr>
          <a:xfrm>
            <a:off x="5061896" y="6196571"/>
            <a:ext cx="6303327" cy="5777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0CB7AFA-417D-856C-E1D1-E3DF6614A9E7}"/>
              </a:ext>
            </a:extLst>
          </p:cNvPr>
          <p:cNvSpPr txBox="1"/>
          <p:nvPr/>
        </p:nvSpPr>
        <p:spPr>
          <a:xfrm>
            <a:off x="5284799" y="6182842"/>
            <a:ext cx="609599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uk-UA" sz="3600" b="1" dirty="0">
                <a:hlinkClick r:id="rId7"/>
              </a:rPr>
              <a:t>https://oschadbusiness.com/</a:t>
            </a:r>
            <a:endParaRPr lang="uk-UA" sz="3600" b="1" dirty="0"/>
          </a:p>
        </p:txBody>
      </p:sp>
    </p:spTree>
    <p:extLst>
      <p:ext uri="{BB962C8B-B14F-4D97-AF65-F5344CB8AC3E}">
        <p14:creationId xmlns:p14="http://schemas.microsoft.com/office/powerpoint/2010/main" val="2096873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1"/>
          <p:cNvSpPr/>
          <p:nvPr/>
        </p:nvSpPr>
        <p:spPr>
          <a:xfrm>
            <a:off x="0" y="-72339"/>
            <a:ext cx="12192000" cy="7936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8" name="Рисунок 5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89920" y="55682"/>
            <a:ext cx="1202386" cy="584398"/>
          </a:xfrm>
          <a:prstGeom prst="rect">
            <a:avLst/>
          </a:prstGeom>
        </p:spPr>
      </p:pic>
      <p:sp>
        <p:nvSpPr>
          <p:cNvPr id="48" name="TextBox 47"/>
          <p:cNvSpPr txBox="1"/>
          <p:nvPr/>
        </p:nvSpPr>
        <p:spPr>
          <a:xfrm>
            <a:off x="79899" y="2983200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5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D4CD00"/>
                </a:solidFill>
                <a:effectLst/>
                <a:uLnTx/>
                <a:uFillTx/>
                <a:latin typeface="Arial Black" pitchFamily="34" charset="0"/>
                <a:ea typeface="+mn-ea"/>
                <a:cs typeface="+mn-cs"/>
              </a:rPr>
              <a:t>ГРАНТИ ВІД ДЕРЖАВ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13F1655-8EED-725C-47C4-44371E617C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11920" y="12523"/>
            <a:ext cx="1615440" cy="627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5552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vdqY7p6YwKgSvrLh7HK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Xm9S_FdxKDHxZUboM00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kLHFp6ROuocnqKaFDt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Офіс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schadbank_CF_RFN013">
  <a:themeElements>
    <a:clrScheme name="Current">
      <a:dk1>
        <a:srgbClr val="000000"/>
      </a:dk1>
      <a:lt1>
        <a:srgbClr val="FFFFFF"/>
      </a:lt1>
      <a:dk2>
        <a:srgbClr val="06503C"/>
      </a:dk2>
      <a:lt2>
        <a:srgbClr val="FFFFFF"/>
      </a:lt2>
      <a:accent1>
        <a:srgbClr val="DCDF3C"/>
      </a:accent1>
      <a:accent2>
        <a:srgbClr val="AEB129"/>
      </a:accent2>
      <a:accent3>
        <a:srgbClr val="14896A"/>
      </a:accent3>
      <a:accent4>
        <a:srgbClr val="06503C"/>
      </a:accent4>
      <a:accent5>
        <a:srgbClr val="B7B7B7"/>
      </a:accent5>
      <a:accent6>
        <a:srgbClr val="808080"/>
      </a:accent6>
      <a:hlink>
        <a:srgbClr val="14896A"/>
      </a:hlink>
      <a:folHlink>
        <a:srgbClr val="06503C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6503C"/>
        </a:dk2>
        <a:lt2>
          <a:srgbClr val="FFFFFF"/>
        </a:lt2>
        <a:accent1>
          <a:srgbClr val="DCDF3C"/>
        </a:accent1>
        <a:accent2>
          <a:srgbClr val="AEB129"/>
        </a:accent2>
        <a:accent3>
          <a:srgbClr val="14896A"/>
        </a:accent3>
        <a:accent4>
          <a:srgbClr val="06503C"/>
        </a:accent4>
        <a:accent5>
          <a:srgbClr val="B7B7B7"/>
        </a:accent5>
        <a:accent6>
          <a:srgbClr val="808080"/>
        </a:accent6>
        <a:hlink>
          <a:srgbClr val="14896A"/>
        </a:hlink>
        <a:folHlink>
          <a:srgbClr val="06503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schadbank_CF_RFN013_V1.potx" id="{67C52412-455C-4028-BD0B-EA0773AEF424}" vid="{F07E85C3-33E5-451E-91F1-978AD19267C4}"/>
    </a:ext>
  </a:extLst>
</a:theme>
</file>

<file path=ppt/theme/theme3.xml><?xml version="1.0" encoding="utf-8"?>
<a:theme xmlns:a="http://schemas.openxmlformats.org/drawingml/2006/main" name="Contents Slide Master">
  <a:themeElements>
    <a:clrScheme name="2019-Business plan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EBEE4"/>
      </a:accent1>
      <a:accent2>
        <a:srgbClr val="4CD6B0"/>
      </a:accent2>
      <a:accent3>
        <a:srgbClr val="98DC56"/>
      </a:accent3>
      <a:accent4>
        <a:srgbClr val="5EBEE4"/>
      </a:accent4>
      <a:accent5>
        <a:srgbClr val="4CD6B0"/>
      </a:accent5>
      <a:accent6>
        <a:srgbClr val="98DC56"/>
      </a:accent6>
      <a:hlink>
        <a:srgbClr val="BFBFBF"/>
      </a:hlink>
      <a:folHlink>
        <a:srgbClr val="BFBFBF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Офіс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FD6C56A16B4C6E4C83AFF99DFDC1421B" ma:contentTypeVersion="4" ma:contentTypeDescription="Створення нового документа." ma:contentTypeScope="" ma:versionID="d208e8f8e998bd69a02580e5a456f3d7">
  <xsd:schema xmlns:xsd="http://www.w3.org/2001/XMLSchema" xmlns:xs="http://www.w3.org/2001/XMLSchema" xmlns:p="http://schemas.microsoft.com/office/2006/metadata/properties" xmlns:ns1="http://schemas.microsoft.com/sharepoint/v3" xmlns:ns2="50f1d6a2-adc8-4df0-b62b-037d6999be3b" xmlns:ns3="9858764e-e1e8-4b80-b7bb-3f5cd35bf0b0" targetNamespace="http://schemas.microsoft.com/office/2006/metadata/properties" ma:root="true" ma:fieldsID="f8e34af3cb8944d3cca41e72c03e77b0" ns1:_="" ns2:_="" ns3:_="">
    <xsd:import namespace="http://schemas.microsoft.com/sharepoint/v3"/>
    <xsd:import namespace="50f1d6a2-adc8-4df0-b62b-037d6999be3b"/>
    <xsd:import namespace="9858764e-e1e8-4b80-b7bb-3f5cd35bf0b0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_x0414__x043e__x043a__x0443__x043c__x0435__x043d__x0442__x0438__x0020__x043f__x043e__x0020__x043a__x0440__x0435__x0434__x0438__x0442__x0443_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Дата початку розкладу" ma:description="Планування дати початку – це стовпець сайту, створений за допомогою засобу публікації. Він використовується, щоб указати дату й час, коли ця сторінка вперше відобразиться для відвідувачів сайту." ma:internalName="PublishingStartDate">
      <xsd:simpleType>
        <xsd:restriction base="dms:Unknown"/>
      </xsd:simpleType>
    </xsd:element>
    <xsd:element name="PublishingExpirationDate" ma:index="9" nillable="true" ma:displayName="Дата початку розкладу" ma:description="Планування дати завершення – це стовпець сайту, створений за допомогою засобу публікації. Він використовується, щоб указати дату й час, коли ця сторінка більше не відображатиметься для відвідувачів сайту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f1d6a2-adc8-4df0-b62b-037d6999be3b" elementFormDefault="qualified">
    <xsd:import namespace="http://schemas.microsoft.com/office/2006/documentManagement/types"/>
    <xsd:import namespace="http://schemas.microsoft.com/office/infopath/2007/PartnerControls"/>
    <xsd:element name="_x0414__x043e__x043a__x0443__x043c__x0435__x043d__x0442__x0438__x0020__x043f__x043e__x0020__x043a__x0440__x0435__x0434__x0438__x0442__x0443_" ma:index="10" nillable="true" ma:displayName="Документи по кредиту" ma:format="Hyperlink" ma:internalName="_x0414__x043e__x043a__x0443__x043c__x0435__x043d__x0442__x0438__x0020__x043f__x043e__x0020__x043a__x0440__x0435__x0434__x0438__x0442__x0443_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8764e-e1e8-4b80-b7bb-3f5cd35bf0b0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Спільний доступ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Відомості про тих, хто має доступ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вмісту"/>
        <xsd:element ref="dc:title" minOccurs="0" maxOccurs="1" ma:index="4" ma:displayName="Заголовок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414__x043e__x043a__x0443__x043c__x0435__x043d__x0442__x0438__x0020__x043f__x043e__x0020__x043a__x0440__x0435__x0434__x0438__x0442__x0443_ xmlns="50f1d6a2-adc8-4df0-b62b-037d6999be3b">
      <Url xsi:nil="true"/>
      <Description xsi:nil="true"/>
    </_x0414__x043e__x043a__x0443__x043c__x0435__x043d__x0442__x0438__x0020__x043f__x043e__x0020__x043a__x0440__x0435__x0434__x0438__x0442__x0443_>
    <PublishingExpirationDate xmlns="http://schemas.microsoft.com/sharepoint/v3" xsi:nil="true"/>
    <PublishingStartDate xmlns="http://schemas.microsoft.com/sharepoint/v3" xsi:nil="true"/>
    <SharedWithUsers xmlns="9858764e-e1e8-4b80-b7bb-3f5cd35bf0b0">
      <UserInfo>
        <DisplayName>Асмоловський Вячеслав Олександрович</DisplayName>
        <AccountId>38670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50D0E8C8-DDA1-4805-A13C-E9F076D3CD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0f1d6a2-adc8-4df0-b62b-037d6999be3b"/>
    <ds:schemaRef ds:uri="9858764e-e1e8-4b80-b7bb-3f5cd35bf0b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1518E8B-BFEA-4383-B03E-E1BA02F99C1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B74113-464E-46AB-B260-2C75D83349BF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terms/"/>
    <ds:schemaRef ds:uri="9858764e-e1e8-4b80-b7bb-3f5cd35bf0b0"/>
    <ds:schemaRef ds:uri="http://purl.org/dc/elements/1.1/"/>
    <ds:schemaRef ds:uri="http://purl.org/dc/dcmitype/"/>
    <ds:schemaRef ds:uri="50f1d6a2-adc8-4df0-b62b-037d6999be3b"/>
    <ds:schemaRef ds:uri="http://www.w3.org/XML/1998/namespace"/>
    <ds:schemaRef ds:uri="http://schemas.microsoft.com/office/infopath/2007/PartnerControl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149</TotalTime>
  <Words>2433</Words>
  <Application>Microsoft Office PowerPoint</Application>
  <PresentationFormat>Широкий екран</PresentationFormat>
  <Paragraphs>351</Paragraphs>
  <Slides>16</Slides>
  <Notes>10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11</vt:i4>
      </vt:variant>
      <vt:variant>
        <vt:lpstr>Тема</vt:lpstr>
      </vt:variant>
      <vt:variant>
        <vt:i4>4</vt:i4>
      </vt:variant>
      <vt:variant>
        <vt:lpstr>Вбудовані сервери OLE</vt:lpstr>
      </vt:variant>
      <vt:variant>
        <vt:i4>2</vt:i4>
      </vt:variant>
      <vt:variant>
        <vt:lpstr>Заголовки слайдів</vt:lpstr>
      </vt:variant>
      <vt:variant>
        <vt:i4>16</vt:i4>
      </vt:variant>
    </vt:vector>
  </HeadingPairs>
  <TitlesOfParts>
    <vt:vector size="33" baseType="lpstr">
      <vt:lpstr>Arial</vt:lpstr>
      <vt:lpstr>Arial Black</vt:lpstr>
      <vt:lpstr>Arial Unicode MS</vt:lpstr>
      <vt:lpstr>Calibri</vt:lpstr>
      <vt:lpstr>Calibri Light</vt:lpstr>
      <vt:lpstr>Futura PT Bold</vt:lpstr>
      <vt:lpstr>Futura PT Book</vt:lpstr>
      <vt:lpstr>Helvetica Light</vt:lpstr>
      <vt:lpstr>Segoe UI</vt:lpstr>
      <vt:lpstr>Symbol</vt:lpstr>
      <vt:lpstr>Wingdings</vt:lpstr>
      <vt:lpstr>Тема Office</vt:lpstr>
      <vt:lpstr>Oschadbank_CF_RFN013</vt:lpstr>
      <vt:lpstr>Contents Slide Master</vt:lpstr>
      <vt:lpstr>1_Тема Office</vt:lpstr>
      <vt:lpstr>think-cell Slide</vt:lpstr>
      <vt:lpstr>Слайд think-cell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лена Федак</dc:creator>
  <cp:lastModifiedBy>Кисіль Віталій Олександрович</cp:lastModifiedBy>
  <cp:revision>265</cp:revision>
  <dcterms:created xsi:type="dcterms:W3CDTF">2023-02-14T12:20:36Z</dcterms:created>
  <dcterms:modified xsi:type="dcterms:W3CDTF">2023-07-12T08:4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D6C56A16B4C6E4C83AFF99DFDC1421B</vt:lpwstr>
  </property>
</Properties>
</file>